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12"/>
  </p:notesMasterIdLst>
  <p:sldIdLst>
    <p:sldId id="256" r:id="rId6"/>
    <p:sldId id="261" r:id="rId7"/>
    <p:sldId id="262" r:id="rId8"/>
    <p:sldId id="263" r:id="rId9"/>
    <p:sldId id="265" r:id="rId10"/>
    <p:sldId id="264" r:id="rId11"/>
  </p:sldIdLst>
  <p:sldSz cx="9144000" cy="6858000" type="screen4x3"/>
  <p:notesSz cx="6797675" cy="987425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7AC"/>
    <a:srgbClr val="CC330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4587" autoAdjust="0"/>
    <p:restoredTop sz="98841" autoAdjust="0"/>
  </p:normalViewPr>
  <p:slideViewPr>
    <p:cSldViewPr>
      <p:cViewPr>
        <p:scale>
          <a:sx n="100" d="100"/>
          <a:sy n="100" d="100"/>
        </p:scale>
        <p:origin x="-756" y="-29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D5B532-9A62-43E6-8B39-5E081FE7C525}" type="doc">
      <dgm:prSet loTypeId="urn:microsoft.com/office/officeart/2005/8/layout/chevron2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9FF04E38-DE1E-4E67-A090-97FC07FF6CAF}">
      <dgm:prSet phldrT="[Text]" phldr="1"/>
      <dgm:spPr/>
      <dgm:t>
        <a:bodyPr/>
        <a:lstStyle/>
        <a:p>
          <a:endParaRPr lang="en-GB" dirty="0"/>
        </a:p>
      </dgm:t>
    </dgm:pt>
    <dgm:pt modelId="{4F27EB80-D2CD-4A72-BA5E-30A4D6C966F5}" type="parTrans" cxnId="{2F58A3F3-0658-4152-ACA0-35E611FD0545}">
      <dgm:prSet/>
      <dgm:spPr/>
      <dgm:t>
        <a:bodyPr/>
        <a:lstStyle/>
        <a:p>
          <a:endParaRPr lang="en-GB"/>
        </a:p>
      </dgm:t>
    </dgm:pt>
    <dgm:pt modelId="{D6D5E246-4C6A-429A-BD1A-4F5070F89544}" type="sibTrans" cxnId="{2F58A3F3-0658-4152-ACA0-35E611FD0545}">
      <dgm:prSet/>
      <dgm:spPr/>
      <dgm:t>
        <a:bodyPr/>
        <a:lstStyle/>
        <a:p>
          <a:endParaRPr lang="en-GB"/>
        </a:p>
      </dgm:t>
    </dgm:pt>
    <dgm:pt modelId="{5A377F68-D14F-41F3-B231-7C75AA0BF3DF}">
      <dgm:prSet phldrT="[Text]"/>
      <dgm:spPr/>
      <dgm:t>
        <a:bodyPr/>
        <a:lstStyle/>
        <a:p>
          <a:r>
            <a:rPr lang="en-GB" dirty="0" err="1" smtClean="0"/>
            <a:t>Einreichung</a:t>
          </a:r>
          <a:r>
            <a:rPr lang="en-GB" dirty="0" smtClean="0"/>
            <a:t> der </a:t>
          </a:r>
          <a:r>
            <a:rPr lang="en-GB" dirty="0" err="1" smtClean="0"/>
            <a:t>Vorschläge</a:t>
          </a:r>
          <a:r>
            <a:rPr lang="en-GB" dirty="0" smtClean="0"/>
            <a:t> (</a:t>
          </a:r>
          <a:r>
            <a:rPr lang="en-GB" dirty="0" err="1" smtClean="0"/>
            <a:t>Einzelnotationen</a:t>
          </a:r>
          <a:r>
            <a:rPr lang="en-GB" dirty="0" smtClean="0"/>
            <a:t> und </a:t>
          </a:r>
          <a:r>
            <a:rPr lang="en-GB" dirty="0" err="1" smtClean="0"/>
            <a:t>Gesamtvorschläge</a:t>
          </a:r>
          <a:r>
            <a:rPr lang="en-GB" dirty="0" smtClean="0"/>
            <a:t>) </a:t>
          </a:r>
          <a:r>
            <a:rPr lang="en-GB" dirty="0" err="1" smtClean="0"/>
            <a:t>bei</a:t>
          </a:r>
          <a:r>
            <a:rPr lang="en-GB" dirty="0" smtClean="0"/>
            <a:t> der RVK-</a:t>
          </a:r>
          <a:r>
            <a:rPr lang="en-GB" dirty="0" err="1" smtClean="0"/>
            <a:t>Fachkoordination</a:t>
          </a:r>
          <a:endParaRPr lang="en-GB" dirty="0"/>
        </a:p>
      </dgm:t>
    </dgm:pt>
    <dgm:pt modelId="{CD94EA25-0610-4DAD-B9BF-63539C8A1D1D}" type="parTrans" cxnId="{CA9373C0-CD6F-47F7-96CE-BB6F363AB5D9}">
      <dgm:prSet/>
      <dgm:spPr/>
      <dgm:t>
        <a:bodyPr/>
        <a:lstStyle/>
        <a:p>
          <a:endParaRPr lang="en-GB"/>
        </a:p>
      </dgm:t>
    </dgm:pt>
    <dgm:pt modelId="{2F60F8FD-37CB-4DA7-9D18-9784F64D17FE}" type="sibTrans" cxnId="{CA9373C0-CD6F-47F7-96CE-BB6F363AB5D9}">
      <dgm:prSet/>
      <dgm:spPr/>
      <dgm:t>
        <a:bodyPr/>
        <a:lstStyle/>
        <a:p>
          <a:endParaRPr lang="en-GB"/>
        </a:p>
      </dgm:t>
    </dgm:pt>
    <dgm:pt modelId="{EE8E4C0C-C87A-4613-8F3F-C328A823B928}">
      <dgm:prSet phldrT="[Text]" phldr="1"/>
      <dgm:spPr/>
      <dgm:t>
        <a:bodyPr/>
        <a:lstStyle/>
        <a:p>
          <a:endParaRPr lang="en-GB"/>
        </a:p>
      </dgm:t>
    </dgm:pt>
    <dgm:pt modelId="{3DA56B0C-673D-4858-8755-28ED5111B21D}" type="parTrans" cxnId="{313B4F29-A534-46EF-A46E-9B753DE4B825}">
      <dgm:prSet/>
      <dgm:spPr/>
      <dgm:t>
        <a:bodyPr/>
        <a:lstStyle/>
        <a:p>
          <a:endParaRPr lang="en-GB"/>
        </a:p>
      </dgm:t>
    </dgm:pt>
    <dgm:pt modelId="{CA09F8A1-65C1-4030-B3F1-BBD131BFAE96}" type="sibTrans" cxnId="{313B4F29-A534-46EF-A46E-9B753DE4B825}">
      <dgm:prSet/>
      <dgm:spPr/>
      <dgm:t>
        <a:bodyPr/>
        <a:lstStyle/>
        <a:p>
          <a:endParaRPr lang="en-GB"/>
        </a:p>
      </dgm:t>
    </dgm:pt>
    <dgm:pt modelId="{021C1E0E-2880-4BC6-A80C-B3E15FF14FDE}">
      <dgm:prSet phldrT="[Text]"/>
      <dgm:spPr/>
      <dgm:t>
        <a:bodyPr/>
        <a:lstStyle/>
        <a:p>
          <a:r>
            <a:rPr lang="en-GB" dirty="0" err="1" smtClean="0"/>
            <a:t>Weiterleitung</a:t>
          </a:r>
          <a:r>
            <a:rPr lang="en-GB" dirty="0" smtClean="0"/>
            <a:t> an </a:t>
          </a:r>
          <a:r>
            <a:rPr lang="en-GB" dirty="0" err="1" smtClean="0"/>
            <a:t>Sprecherin</a:t>
          </a:r>
          <a:r>
            <a:rPr lang="en-GB" dirty="0" smtClean="0"/>
            <a:t> </a:t>
          </a:r>
          <a:r>
            <a:rPr lang="en-GB" dirty="0" err="1" smtClean="0"/>
            <a:t>der</a:t>
          </a:r>
          <a:r>
            <a:rPr lang="en-GB" dirty="0" smtClean="0"/>
            <a:t> </a:t>
          </a:r>
          <a:r>
            <a:rPr lang="en-GB" dirty="0" err="1" smtClean="0"/>
            <a:t>Expertengruppe</a:t>
          </a:r>
          <a:endParaRPr lang="en-GB" dirty="0"/>
        </a:p>
      </dgm:t>
    </dgm:pt>
    <dgm:pt modelId="{DC3ED651-E936-4063-A086-9ECC36616D47}" type="parTrans" cxnId="{3061E24F-2FE9-423B-AF08-69CAD797A340}">
      <dgm:prSet/>
      <dgm:spPr/>
      <dgm:t>
        <a:bodyPr/>
        <a:lstStyle/>
        <a:p>
          <a:endParaRPr lang="en-GB"/>
        </a:p>
      </dgm:t>
    </dgm:pt>
    <dgm:pt modelId="{3397FA3F-F6AB-4B2C-BC57-B96BB1EBC7F7}" type="sibTrans" cxnId="{3061E24F-2FE9-423B-AF08-69CAD797A340}">
      <dgm:prSet/>
      <dgm:spPr/>
      <dgm:t>
        <a:bodyPr/>
        <a:lstStyle/>
        <a:p>
          <a:endParaRPr lang="en-GB"/>
        </a:p>
      </dgm:t>
    </dgm:pt>
    <dgm:pt modelId="{B7747904-737F-4805-A2EB-0DE722DF257E}">
      <dgm:prSet phldrT="[Text]" phldr="1"/>
      <dgm:spPr/>
      <dgm:t>
        <a:bodyPr/>
        <a:lstStyle/>
        <a:p>
          <a:endParaRPr lang="en-GB" dirty="0"/>
        </a:p>
      </dgm:t>
    </dgm:pt>
    <dgm:pt modelId="{687700EB-D5BF-4B12-BA13-2FDD9AD336FC}" type="parTrans" cxnId="{E16E5830-49B8-4C1A-9A52-931D5EB3F255}">
      <dgm:prSet/>
      <dgm:spPr/>
      <dgm:t>
        <a:bodyPr/>
        <a:lstStyle/>
        <a:p>
          <a:endParaRPr lang="en-GB"/>
        </a:p>
      </dgm:t>
    </dgm:pt>
    <dgm:pt modelId="{FFFA6815-0F5D-479E-9F20-C2D5FB283F32}" type="sibTrans" cxnId="{E16E5830-49B8-4C1A-9A52-931D5EB3F255}">
      <dgm:prSet/>
      <dgm:spPr/>
      <dgm:t>
        <a:bodyPr/>
        <a:lstStyle/>
        <a:p>
          <a:endParaRPr lang="en-GB"/>
        </a:p>
      </dgm:t>
    </dgm:pt>
    <dgm:pt modelId="{9DC20F29-6047-487F-8679-9A1FAB22E42F}">
      <dgm:prSet phldrT="[Text]"/>
      <dgm:spPr/>
      <dgm:t>
        <a:bodyPr/>
        <a:lstStyle/>
        <a:p>
          <a:r>
            <a:rPr lang="en-GB" dirty="0" err="1" smtClean="0"/>
            <a:t>Prüfung</a:t>
          </a:r>
          <a:r>
            <a:rPr lang="en-GB" dirty="0" smtClean="0"/>
            <a:t> </a:t>
          </a:r>
          <a:r>
            <a:rPr lang="en-GB" dirty="0" err="1" smtClean="0"/>
            <a:t>durch</a:t>
          </a:r>
          <a:r>
            <a:rPr lang="en-GB" dirty="0" smtClean="0"/>
            <a:t> </a:t>
          </a:r>
          <a:r>
            <a:rPr lang="en-GB" dirty="0" err="1" smtClean="0"/>
            <a:t>Expertengruppe</a:t>
          </a:r>
          <a:r>
            <a:rPr lang="en-GB" dirty="0" smtClean="0"/>
            <a:t>, </a:t>
          </a:r>
          <a:r>
            <a:rPr lang="en-GB" dirty="0" err="1" smtClean="0"/>
            <a:t>ggf</a:t>
          </a:r>
          <a:r>
            <a:rPr lang="en-GB" dirty="0" smtClean="0"/>
            <a:t>. </a:t>
          </a:r>
          <a:r>
            <a:rPr lang="en-GB" dirty="0" err="1" smtClean="0"/>
            <a:t>Abstimmung</a:t>
          </a:r>
          <a:r>
            <a:rPr lang="en-GB" dirty="0" smtClean="0"/>
            <a:t> </a:t>
          </a:r>
          <a:r>
            <a:rPr lang="en-GB" dirty="0" err="1" smtClean="0"/>
            <a:t>mit</a:t>
          </a:r>
          <a:r>
            <a:rPr lang="en-GB" dirty="0" smtClean="0"/>
            <a:t> </a:t>
          </a:r>
          <a:r>
            <a:rPr lang="en-GB" dirty="0" err="1" smtClean="0"/>
            <a:t>Antragsteller</a:t>
          </a:r>
          <a:r>
            <a:rPr lang="en-GB" dirty="0" smtClean="0"/>
            <a:t> und </a:t>
          </a:r>
          <a:r>
            <a:rPr lang="en-GB" dirty="0" err="1" smtClean="0"/>
            <a:t>Überarbeitung</a:t>
          </a:r>
          <a:r>
            <a:rPr lang="en-GB" dirty="0" smtClean="0"/>
            <a:t> des </a:t>
          </a:r>
          <a:r>
            <a:rPr lang="en-GB" dirty="0" err="1" smtClean="0"/>
            <a:t>Vorschlags</a:t>
          </a:r>
          <a:endParaRPr lang="en-GB" dirty="0"/>
        </a:p>
      </dgm:t>
    </dgm:pt>
    <dgm:pt modelId="{3BED7D82-5FA0-45E6-A8C6-5D46D80E5332}" type="sibTrans" cxnId="{DF16A566-9C0C-4742-AAD7-7396807D8898}">
      <dgm:prSet/>
      <dgm:spPr/>
      <dgm:t>
        <a:bodyPr/>
        <a:lstStyle/>
        <a:p>
          <a:endParaRPr lang="en-GB"/>
        </a:p>
      </dgm:t>
    </dgm:pt>
    <dgm:pt modelId="{91FB882C-0E31-4851-8404-B5E782ED9AEE}" type="parTrans" cxnId="{DF16A566-9C0C-4742-AAD7-7396807D8898}">
      <dgm:prSet/>
      <dgm:spPr/>
      <dgm:t>
        <a:bodyPr/>
        <a:lstStyle/>
        <a:p>
          <a:endParaRPr lang="en-GB"/>
        </a:p>
      </dgm:t>
    </dgm:pt>
    <dgm:pt modelId="{8529B973-6F55-41ED-8547-0D43A3A65E35}">
      <dgm:prSet phldrT="[Text]"/>
      <dgm:spPr/>
      <dgm:t>
        <a:bodyPr/>
        <a:lstStyle/>
        <a:p>
          <a:r>
            <a:rPr lang="en-GB" dirty="0" err="1" smtClean="0"/>
            <a:t>Rückmeldung</a:t>
          </a:r>
          <a:r>
            <a:rPr lang="en-GB" dirty="0" smtClean="0"/>
            <a:t> der </a:t>
          </a:r>
          <a:r>
            <a:rPr lang="en-GB" dirty="0" err="1" smtClean="0"/>
            <a:t>Expertengruppe</a:t>
          </a:r>
          <a:r>
            <a:rPr lang="en-GB" dirty="0" smtClean="0"/>
            <a:t> an RVK-</a:t>
          </a:r>
          <a:r>
            <a:rPr lang="en-GB" dirty="0" err="1" smtClean="0"/>
            <a:t>Fachkoordination</a:t>
          </a:r>
          <a:endParaRPr lang="en-GB" dirty="0"/>
        </a:p>
      </dgm:t>
    </dgm:pt>
    <dgm:pt modelId="{B84B2B03-FF26-4D0F-A9DD-7AE1A84E32AC}" type="parTrans" cxnId="{5ABBAA6A-3FAE-4708-BC59-3DA5F930FF0C}">
      <dgm:prSet/>
      <dgm:spPr/>
      <dgm:t>
        <a:bodyPr/>
        <a:lstStyle/>
        <a:p>
          <a:endParaRPr lang="en-GB"/>
        </a:p>
      </dgm:t>
    </dgm:pt>
    <dgm:pt modelId="{A40D82C4-525D-47C8-890C-B6D6378B6AAA}" type="sibTrans" cxnId="{5ABBAA6A-3FAE-4708-BC59-3DA5F930FF0C}">
      <dgm:prSet/>
      <dgm:spPr/>
      <dgm:t>
        <a:bodyPr/>
        <a:lstStyle/>
        <a:p>
          <a:endParaRPr lang="en-GB"/>
        </a:p>
      </dgm:t>
    </dgm:pt>
    <dgm:pt modelId="{B61C4F24-40C4-42CA-BB93-D25D62FEC34C}">
      <dgm:prSet phldrT="[Text]"/>
      <dgm:spPr/>
      <dgm:t>
        <a:bodyPr/>
        <a:lstStyle/>
        <a:p>
          <a:endParaRPr lang="en-GB" dirty="0"/>
        </a:p>
      </dgm:t>
    </dgm:pt>
    <dgm:pt modelId="{76B04B44-ED15-4B71-814B-829856DBCF34}" type="parTrans" cxnId="{54C554CD-7F64-45BB-8800-4BBA5F140AFF}">
      <dgm:prSet/>
      <dgm:spPr/>
      <dgm:t>
        <a:bodyPr/>
        <a:lstStyle/>
        <a:p>
          <a:endParaRPr lang="en-GB"/>
        </a:p>
      </dgm:t>
    </dgm:pt>
    <dgm:pt modelId="{5B87AFA3-3EED-4C24-A347-77F98148BBAB}" type="sibTrans" cxnId="{54C554CD-7F64-45BB-8800-4BBA5F140AFF}">
      <dgm:prSet/>
      <dgm:spPr/>
      <dgm:t>
        <a:bodyPr/>
        <a:lstStyle/>
        <a:p>
          <a:endParaRPr lang="en-GB"/>
        </a:p>
      </dgm:t>
    </dgm:pt>
    <dgm:pt modelId="{76D9A8D0-4F78-4679-A0FB-F0956FE3007F}" type="pres">
      <dgm:prSet presAssocID="{C0D5B532-9A62-43E6-8B39-5E081FE7C525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66BE87BB-DFC2-4850-8F2E-B99E4AF0C5A4}" type="pres">
      <dgm:prSet presAssocID="{9FF04E38-DE1E-4E67-A090-97FC07FF6CAF}" presName="composite" presStyleCnt="0"/>
      <dgm:spPr/>
    </dgm:pt>
    <dgm:pt modelId="{AA500C5C-8BB7-47A2-88B3-014B266F7DDE}" type="pres">
      <dgm:prSet presAssocID="{9FF04E38-DE1E-4E67-A090-97FC07FF6CAF}" presName="parentText" presStyleLbl="align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0DD4E912-9004-45A4-B361-1FB3BA2B0E45}" type="pres">
      <dgm:prSet presAssocID="{9FF04E38-DE1E-4E67-A090-97FC07FF6CAF}" presName="descendantText" presStyleLbl="alignAcc1" presStyleIdx="0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5323D2E-AE6D-475B-8478-82E3BB7A49ED}" type="pres">
      <dgm:prSet presAssocID="{D6D5E246-4C6A-429A-BD1A-4F5070F89544}" presName="sp" presStyleCnt="0"/>
      <dgm:spPr/>
    </dgm:pt>
    <dgm:pt modelId="{135647BF-CA40-41D5-8BD5-38AC3F275FFC}" type="pres">
      <dgm:prSet presAssocID="{EE8E4C0C-C87A-4613-8F3F-C328A823B928}" presName="composite" presStyleCnt="0"/>
      <dgm:spPr/>
    </dgm:pt>
    <dgm:pt modelId="{E095B972-7962-4B74-8E2F-BB7A8A3021F5}" type="pres">
      <dgm:prSet presAssocID="{EE8E4C0C-C87A-4613-8F3F-C328A823B928}" presName="parentText" presStyleLbl="align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141691D5-1B0F-494A-8C9A-5191BF63DC73}" type="pres">
      <dgm:prSet presAssocID="{EE8E4C0C-C87A-4613-8F3F-C328A823B928}" presName="descendantText" presStyleLbl="alignAcc1" presStyleIdx="1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B872C45F-6623-41F8-BCA7-A43B5164C1B6}" type="pres">
      <dgm:prSet presAssocID="{CA09F8A1-65C1-4030-B3F1-BBD131BFAE96}" presName="sp" presStyleCnt="0"/>
      <dgm:spPr/>
    </dgm:pt>
    <dgm:pt modelId="{1452DD90-41DF-4EE9-9008-CA92032833D1}" type="pres">
      <dgm:prSet presAssocID="{B7747904-737F-4805-A2EB-0DE722DF257E}" presName="composite" presStyleCnt="0"/>
      <dgm:spPr/>
    </dgm:pt>
    <dgm:pt modelId="{8753260D-B4DF-439B-87D3-14478DE091C0}" type="pres">
      <dgm:prSet presAssocID="{B7747904-737F-4805-A2EB-0DE722DF257E}" presName="parentText" presStyleLbl="align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241402E2-4368-476A-9DFC-D56A915C5820}" type="pres">
      <dgm:prSet presAssocID="{B7747904-737F-4805-A2EB-0DE722DF257E}" presName="descendantText" presStyleLbl="alignAcc1" presStyleIdx="2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B4364C56-2ADD-467D-BFAB-8AC9A3DCA42F}" type="pres">
      <dgm:prSet presAssocID="{FFFA6815-0F5D-479E-9F20-C2D5FB283F32}" presName="sp" presStyleCnt="0"/>
      <dgm:spPr/>
    </dgm:pt>
    <dgm:pt modelId="{BEDA0BED-6ADA-464B-8625-1843604E822D}" type="pres">
      <dgm:prSet presAssocID="{B61C4F24-40C4-42CA-BB93-D25D62FEC34C}" presName="composite" presStyleCnt="0"/>
      <dgm:spPr/>
    </dgm:pt>
    <dgm:pt modelId="{1BF5F6AA-9BFC-4E11-9018-C5EA57741BE3}" type="pres">
      <dgm:prSet presAssocID="{B61C4F24-40C4-42CA-BB93-D25D62FEC34C}" presName="parentText" presStyleLbl="align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F7B43609-D49C-4B59-88B3-549D3237A26B}" type="pres">
      <dgm:prSet presAssocID="{B61C4F24-40C4-42CA-BB93-D25D62FEC34C}" presName="descendantText" presStyleLbl="alignAcc1" presStyleIdx="3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5ABBAA6A-3FAE-4708-BC59-3DA5F930FF0C}" srcId="{B61C4F24-40C4-42CA-BB93-D25D62FEC34C}" destId="{8529B973-6F55-41ED-8547-0D43A3A65E35}" srcOrd="0" destOrd="0" parTransId="{B84B2B03-FF26-4D0F-A9DD-7AE1A84E32AC}" sibTransId="{A40D82C4-525D-47C8-890C-B6D6378B6AAA}"/>
    <dgm:cxn modelId="{CE4106DF-0A19-4EC7-93F7-69455B3EDE4F}" type="presOf" srcId="{8529B973-6F55-41ED-8547-0D43A3A65E35}" destId="{F7B43609-D49C-4B59-88B3-549D3237A26B}" srcOrd="0" destOrd="0" presId="urn:microsoft.com/office/officeart/2005/8/layout/chevron2"/>
    <dgm:cxn modelId="{3061E24F-2FE9-423B-AF08-69CAD797A340}" srcId="{EE8E4C0C-C87A-4613-8F3F-C328A823B928}" destId="{021C1E0E-2880-4BC6-A80C-B3E15FF14FDE}" srcOrd="0" destOrd="0" parTransId="{DC3ED651-E936-4063-A086-9ECC36616D47}" sibTransId="{3397FA3F-F6AB-4B2C-BC57-B96BB1EBC7F7}"/>
    <dgm:cxn modelId="{DF16A566-9C0C-4742-AAD7-7396807D8898}" srcId="{B7747904-737F-4805-A2EB-0DE722DF257E}" destId="{9DC20F29-6047-487F-8679-9A1FAB22E42F}" srcOrd="0" destOrd="0" parTransId="{91FB882C-0E31-4851-8404-B5E782ED9AEE}" sibTransId="{3BED7D82-5FA0-45E6-A8C6-5D46D80E5332}"/>
    <dgm:cxn modelId="{BE6D2084-FDF5-4472-8ED7-468EB5F7CE49}" type="presOf" srcId="{5A377F68-D14F-41F3-B231-7C75AA0BF3DF}" destId="{0DD4E912-9004-45A4-B361-1FB3BA2B0E45}" srcOrd="0" destOrd="0" presId="urn:microsoft.com/office/officeart/2005/8/layout/chevron2"/>
    <dgm:cxn modelId="{E16E5830-49B8-4C1A-9A52-931D5EB3F255}" srcId="{C0D5B532-9A62-43E6-8B39-5E081FE7C525}" destId="{B7747904-737F-4805-A2EB-0DE722DF257E}" srcOrd="2" destOrd="0" parTransId="{687700EB-D5BF-4B12-BA13-2FDD9AD336FC}" sibTransId="{FFFA6815-0F5D-479E-9F20-C2D5FB283F32}"/>
    <dgm:cxn modelId="{54C554CD-7F64-45BB-8800-4BBA5F140AFF}" srcId="{C0D5B532-9A62-43E6-8B39-5E081FE7C525}" destId="{B61C4F24-40C4-42CA-BB93-D25D62FEC34C}" srcOrd="3" destOrd="0" parTransId="{76B04B44-ED15-4B71-814B-829856DBCF34}" sibTransId="{5B87AFA3-3EED-4C24-A347-77F98148BBAB}"/>
    <dgm:cxn modelId="{CA9373C0-CD6F-47F7-96CE-BB6F363AB5D9}" srcId="{9FF04E38-DE1E-4E67-A090-97FC07FF6CAF}" destId="{5A377F68-D14F-41F3-B231-7C75AA0BF3DF}" srcOrd="0" destOrd="0" parTransId="{CD94EA25-0610-4DAD-B9BF-63539C8A1D1D}" sibTransId="{2F60F8FD-37CB-4DA7-9D18-9784F64D17FE}"/>
    <dgm:cxn modelId="{32B067F7-556E-47A5-ACD0-FECA6C38AE13}" type="presOf" srcId="{B61C4F24-40C4-42CA-BB93-D25D62FEC34C}" destId="{1BF5F6AA-9BFC-4E11-9018-C5EA57741BE3}" srcOrd="0" destOrd="0" presId="urn:microsoft.com/office/officeart/2005/8/layout/chevron2"/>
    <dgm:cxn modelId="{766AFEF7-D220-41E0-A877-A137ED0203A0}" type="presOf" srcId="{EE8E4C0C-C87A-4613-8F3F-C328A823B928}" destId="{E095B972-7962-4B74-8E2F-BB7A8A3021F5}" srcOrd="0" destOrd="0" presId="urn:microsoft.com/office/officeart/2005/8/layout/chevron2"/>
    <dgm:cxn modelId="{4C397978-7EDD-4DF3-8DB4-01D7556E2F63}" type="presOf" srcId="{9DC20F29-6047-487F-8679-9A1FAB22E42F}" destId="{241402E2-4368-476A-9DFC-D56A915C5820}" srcOrd="0" destOrd="0" presId="urn:microsoft.com/office/officeart/2005/8/layout/chevron2"/>
    <dgm:cxn modelId="{313B4F29-A534-46EF-A46E-9B753DE4B825}" srcId="{C0D5B532-9A62-43E6-8B39-5E081FE7C525}" destId="{EE8E4C0C-C87A-4613-8F3F-C328A823B928}" srcOrd="1" destOrd="0" parTransId="{3DA56B0C-673D-4858-8755-28ED5111B21D}" sibTransId="{CA09F8A1-65C1-4030-B3F1-BBD131BFAE96}"/>
    <dgm:cxn modelId="{8375885D-6C3B-47E5-89BF-CF51152B4B47}" type="presOf" srcId="{B7747904-737F-4805-A2EB-0DE722DF257E}" destId="{8753260D-B4DF-439B-87D3-14478DE091C0}" srcOrd="0" destOrd="0" presId="urn:microsoft.com/office/officeart/2005/8/layout/chevron2"/>
    <dgm:cxn modelId="{FF7B96BE-2D5F-4DEF-AB04-6B4F75964105}" type="presOf" srcId="{C0D5B532-9A62-43E6-8B39-5E081FE7C525}" destId="{76D9A8D0-4F78-4679-A0FB-F0956FE3007F}" srcOrd="0" destOrd="0" presId="urn:microsoft.com/office/officeart/2005/8/layout/chevron2"/>
    <dgm:cxn modelId="{F9001C1C-A733-46E9-B562-B401C19D04CE}" type="presOf" srcId="{021C1E0E-2880-4BC6-A80C-B3E15FF14FDE}" destId="{141691D5-1B0F-494A-8C9A-5191BF63DC73}" srcOrd="0" destOrd="0" presId="urn:microsoft.com/office/officeart/2005/8/layout/chevron2"/>
    <dgm:cxn modelId="{DBC57110-AF55-4CA0-B390-7FC3417BE5AC}" type="presOf" srcId="{9FF04E38-DE1E-4E67-A090-97FC07FF6CAF}" destId="{AA500C5C-8BB7-47A2-88B3-014B266F7DDE}" srcOrd="0" destOrd="0" presId="urn:microsoft.com/office/officeart/2005/8/layout/chevron2"/>
    <dgm:cxn modelId="{2F58A3F3-0658-4152-ACA0-35E611FD0545}" srcId="{C0D5B532-9A62-43E6-8B39-5E081FE7C525}" destId="{9FF04E38-DE1E-4E67-A090-97FC07FF6CAF}" srcOrd="0" destOrd="0" parTransId="{4F27EB80-D2CD-4A72-BA5E-30A4D6C966F5}" sibTransId="{D6D5E246-4C6A-429A-BD1A-4F5070F89544}"/>
    <dgm:cxn modelId="{D3DEC1A2-9077-4F46-9515-39690CF6020B}" type="presParOf" srcId="{76D9A8D0-4F78-4679-A0FB-F0956FE3007F}" destId="{66BE87BB-DFC2-4850-8F2E-B99E4AF0C5A4}" srcOrd="0" destOrd="0" presId="urn:microsoft.com/office/officeart/2005/8/layout/chevron2"/>
    <dgm:cxn modelId="{30FB8984-2E41-4C94-8B98-6A4F8DEC2E30}" type="presParOf" srcId="{66BE87BB-DFC2-4850-8F2E-B99E4AF0C5A4}" destId="{AA500C5C-8BB7-47A2-88B3-014B266F7DDE}" srcOrd="0" destOrd="0" presId="urn:microsoft.com/office/officeart/2005/8/layout/chevron2"/>
    <dgm:cxn modelId="{1599F549-9914-4128-9139-A034347DAACB}" type="presParOf" srcId="{66BE87BB-DFC2-4850-8F2E-B99E4AF0C5A4}" destId="{0DD4E912-9004-45A4-B361-1FB3BA2B0E45}" srcOrd="1" destOrd="0" presId="urn:microsoft.com/office/officeart/2005/8/layout/chevron2"/>
    <dgm:cxn modelId="{4068549F-1B2F-4C69-A152-AEB07BF0F6DE}" type="presParOf" srcId="{76D9A8D0-4F78-4679-A0FB-F0956FE3007F}" destId="{95323D2E-AE6D-475B-8478-82E3BB7A49ED}" srcOrd="1" destOrd="0" presId="urn:microsoft.com/office/officeart/2005/8/layout/chevron2"/>
    <dgm:cxn modelId="{591B23AD-2A76-418C-B72E-E13950208489}" type="presParOf" srcId="{76D9A8D0-4F78-4679-A0FB-F0956FE3007F}" destId="{135647BF-CA40-41D5-8BD5-38AC3F275FFC}" srcOrd="2" destOrd="0" presId="urn:microsoft.com/office/officeart/2005/8/layout/chevron2"/>
    <dgm:cxn modelId="{57174FC5-2DBD-43D7-AD2B-F42F84A49179}" type="presParOf" srcId="{135647BF-CA40-41D5-8BD5-38AC3F275FFC}" destId="{E095B972-7962-4B74-8E2F-BB7A8A3021F5}" srcOrd="0" destOrd="0" presId="urn:microsoft.com/office/officeart/2005/8/layout/chevron2"/>
    <dgm:cxn modelId="{2821FF73-4E24-4E39-94D7-A193A967F806}" type="presParOf" srcId="{135647BF-CA40-41D5-8BD5-38AC3F275FFC}" destId="{141691D5-1B0F-494A-8C9A-5191BF63DC73}" srcOrd="1" destOrd="0" presId="urn:microsoft.com/office/officeart/2005/8/layout/chevron2"/>
    <dgm:cxn modelId="{E957DF59-B90B-4786-839F-A44B79F53824}" type="presParOf" srcId="{76D9A8D0-4F78-4679-A0FB-F0956FE3007F}" destId="{B872C45F-6623-41F8-BCA7-A43B5164C1B6}" srcOrd="3" destOrd="0" presId="urn:microsoft.com/office/officeart/2005/8/layout/chevron2"/>
    <dgm:cxn modelId="{7E6233C4-F0E1-4938-B81A-C6BAB06B2DA1}" type="presParOf" srcId="{76D9A8D0-4F78-4679-A0FB-F0956FE3007F}" destId="{1452DD90-41DF-4EE9-9008-CA92032833D1}" srcOrd="4" destOrd="0" presId="urn:microsoft.com/office/officeart/2005/8/layout/chevron2"/>
    <dgm:cxn modelId="{CF3D1D52-AC0A-45A2-B56D-13C7A8AF9DBB}" type="presParOf" srcId="{1452DD90-41DF-4EE9-9008-CA92032833D1}" destId="{8753260D-B4DF-439B-87D3-14478DE091C0}" srcOrd="0" destOrd="0" presId="urn:microsoft.com/office/officeart/2005/8/layout/chevron2"/>
    <dgm:cxn modelId="{7B10B189-B056-4920-88B8-0390374AEE92}" type="presParOf" srcId="{1452DD90-41DF-4EE9-9008-CA92032833D1}" destId="{241402E2-4368-476A-9DFC-D56A915C5820}" srcOrd="1" destOrd="0" presId="urn:microsoft.com/office/officeart/2005/8/layout/chevron2"/>
    <dgm:cxn modelId="{26C4387D-D409-436C-91DF-7D6CECFFC54E}" type="presParOf" srcId="{76D9A8D0-4F78-4679-A0FB-F0956FE3007F}" destId="{B4364C56-2ADD-467D-BFAB-8AC9A3DCA42F}" srcOrd="5" destOrd="0" presId="urn:microsoft.com/office/officeart/2005/8/layout/chevron2"/>
    <dgm:cxn modelId="{3C2A8B4A-0B74-4E34-A997-D5AEF8803EC1}" type="presParOf" srcId="{76D9A8D0-4F78-4679-A0FB-F0956FE3007F}" destId="{BEDA0BED-6ADA-464B-8625-1843604E822D}" srcOrd="6" destOrd="0" presId="urn:microsoft.com/office/officeart/2005/8/layout/chevron2"/>
    <dgm:cxn modelId="{92D90B86-1202-47D4-9016-7E114C4983BD}" type="presParOf" srcId="{BEDA0BED-6ADA-464B-8625-1843604E822D}" destId="{1BF5F6AA-9BFC-4E11-9018-C5EA57741BE3}" srcOrd="0" destOrd="0" presId="urn:microsoft.com/office/officeart/2005/8/layout/chevron2"/>
    <dgm:cxn modelId="{1803E5AC-06F6-43DD-82FD-6EF5133FDBE8}" type="presParOf" srcId="{BEDA0BED-6ADA-464B-8625-1843604E822D}" destId="{F7B43609-D49C-4B59-88B3-549D3237A26B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500C5C-8BB7-47A2-88B3-014B266F7DDE}">
      <dsp:nvSpPr>
        <dsp:cNvPr id="0" name=""/>
        <dsp:cNvSpPr/>
      </dsp:nvSpPr>
      <dsp:spPr>
        <a:xfrm rot="5400000">
          <a:off x="-169068" y="169670"/>
          <a:ext cx="1127124" cy="78898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2300" kern="1200" dirty="0"/>
        </a:p>
      </dsp:txBody>
      <dsp:txXfrm rot="-5400000">
        <a:off x="1" y="395096"/>
        <a:ext cx="788987" cy="338137"/>
      </dsp:txXfrm>
    </dsp:sp>
    <dsp:sp modelId="{0DD4E912-9004-45A4-B361-1FB3BA2B0E45}">
      <dsp:nvSpPr>
        <dsp:cNvPr id="0" name=""/>
        <dsp:cNvSpPr/>
      </dsp:nvSpPr>
      <dsp:spPr>
        <a:xfrm rot="5400000">
          <a:off x="3076178" y="-2286589"/>
          <a:ext cx="732631" cy="530701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10795" rIns="10795" bIns="10795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dirty="0" err="1" smtClean="0"/>
            <a:t>Einreichung</a:t>
          </a:r>
          <a:r>
            <a:rPr lang="en-GB" sz="1700" kern="1200" dirty="0" smtClean="0"/>
            <a:t> der </a:t>
          </a:r>
          <a:r>
            <a:rPr lang="en-GB" sz="1700" kern="1200" dirty="0" err="1" smtClean="0"/>
            <a:t>Vorschläge</a:t>
          </a:r>
          <a:r>
            <a:rPr lang="en-GB" sz="1700" kern="1200" dirty="0" smtClean="0"/>
            <a:t> (</a:t>
          </a:r>
          <a:r>
            <a:rPr lang="en-GB" sz="1700" kern="1200" dirty="0" err="1" smtClean="0"/>
            <a:t>Einzelnotationen</a:t>
          </a:r>
          <a:r>
            <a:rPr lang="en-GB" sz="1700" kern="1200" dirty="0" smtClean="0"/>
            <a:t> und </a:t>
          </a:r>
          <a:r>
            <a:rPr lang="en-GB" sz="1700" kern="1200" dirty="0" err="1" smtClean="0"/>
            <a:t>Gesamtvorschläge</a:t>
          </a:r>
          <a:r>
            <a:rPr lang="en-GB" sz="1700" kern="1200" dirty="0" smtClean="0"/>
            <a:t>) </a:t>
          </a:r>
          <a:r>
            <a:rPr lang="en-GB" sz="1700" kern="1200" dirty="0" err="1" smtClean="0"/>
            <a:t>bei</a:t>
          </a:r>
          <a:r>
            <a:rPr lang="en-GB" sz="1700" kern="1200" dirty="0" smtClean="0"/>
            <a:t> der RVK-</a:t>
          </a:r>
          <a:r>
            <a:rPr lang="en-GB" sz="1700" kern="1200" dirty="0" err="1" smtClean="0"/>
            <a:t>Fachkoordination</a:t>
          </a:r>
          <a:endParaRPr lang="en-GB" sz="1700" kern="1200" dirty="0"/>
        </a:p>
      </dsp:txBody>
      <dsp:txXfrm rot="-5400000">
        <a:off x="788988" y="36365"/>
        <a:ext cx="5271248" cy="661103"/>
      </dsp:txXfrm>
    </dsp:sp>
    <dsp:sp modelId="{E095B972-7962-4B74-8E2F-BB7A8A3021F5}">
      <dsp:nvSpPr>
        <dsp:cNvPr id="0" name=""/>
        <dsp:cNvSpPr/>
      </dsp:nvSpPr>
      <dsp:spPr>
        <a:xfrm rot="5400000">
          <a:off x="-169068" y="1148227"/>
          <a:ext cx="1127124" cy="78898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2300" kern="1200"/>
        </a:p>
      </dsp:txBody>
      <dsp:txXfrm rot="-5400000">
        <a:off x="1" y="1373653"/>
        <a:ext cx="788987" cy="338137"/>
      </dsp:txXfrm>
    </dsp:sp>
    <dsp:sp modelId="{141691D5-1B0F-494A-8C9A-5191BF63DC73}">
      <dsp:nvSpPr>
        <dsp:cNvPr id="0" name=""/>
        <dsp:cNvSpPr/>
      </dsp:nvSpPr>
      <dsp:spPr>
        <a:xfrm rot="5400000">
          <a:off x="3076178" y="-1308031"/>
          <a:ext cx="732631" cy="530701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10795" rIns="10795" bIns="10795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dirty="0" err="1" smtClean="0"/>
            <a:t>Weiterleitung</a:t>
          </a:r>
          <a:r>
            <a:rPr lang="en-GB" sz="1700" kern="1200" dirty="0" smtClean="0"/>
            <a:t> an </a:t>
          </a:r>
          <a:r>
            <a:rPr lang="en-GB" sz="1700" kern="1200" dirty="0" err="1" smtClean="0"/>
            <a:t>Sprecherin</a:t>
          </a:r>
          <a:r>
            <a:rPr lang="en-GB" sz="1700" kern="1200" dirty="0" smtClean="0"/>
            <a:t> </a:t>
          </a:r>
          <a:r>
            <a:rPr lang="en-GB" sz="1700" kern="1200" dirty="0" err="1" smtClean="0"/>
            <a:t>der</a:t>
          </a:r>
          <a:r>
            <a:rPr lang="en-GB" sz="1700" kern="1200" dirty="0" smtClean="0"/>
            <a:t> </a:t>
          </a:r>
          <a:r>
            <a:rPr lang="en-GB" sz="1700" kern="1200" dirty="0" err="1" smtClean="0"/>
            <a:t>Expertengruppe</a:t>
          </a:r>
          <a:endParaRPr lang="en-GB" sz="1700" kern="1200" dirty="0"/>
        </a:p>
      </dsp:txBody>
      <dsp:txXfrm rot="-5400000">
        <a:off x="788988" y="1014923"/>
        <a:ext cx="5271248" cy="661103"/>
      </dsp:txXfrm>
    </dsp:sp>
    <dsp:sp modelId="{8753260D-B4DF-439B-87D3-14478DE091C0}">
      <dsp:nvSpPr>
        <dsp:cNvPr id="0" name=""/>
        <dsp:cNvSpPr/>
      </dsp:nvSpPr>
      <dsp:spPr>
        <a:xfrm rot="5400000">
          <a:off x="-169068" y="2126784"/>
          <a:ext cx="1127124" cy="78898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2300" kern="1200" dirty="0"/>
        </a:p>
      </dsp:txBody>
      <dsp:txXfrm rot="-5400000">
        <a:off x="1" y="2352210"/>
        <a:ext cx="788987" cy="338137"/>
      </dsp:txXfrm>
    </dsp:sp>
    <dsp:sp modelId="{241402E2-4368-476A-9DFC-D56A915C5820}">
      <dsp:nvSpPr>
        <dsp:cNvPr id="0" name=""/>
        <dsp:cNvSpPr/>
      </dsp:nvSpPr>
      <dsp:spPr>
        <a:xfrm rot="5400000">
          <a:off x="3076178" y="-329474"/>
          <a:ext cx="732631" cy="530701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10795" rIns="10795" bIns="10795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dirty="0" err="1" smtClean="0"/>
            <a:t>Prüfung</a:t>
          </a:r>
          <a:r>
            <a:rPr lang="en-GB" sz="1700" kern="1200" dirty="0" smtClean="0"/>
            <a:t> </a:t>
          </a:r>
          <a:r>
            <a:rPr lang="en-GB" sz="1700" kern="1200" dirty="0" err="1" smtClean="0"/>
            <a:t>durch</a:t>
          </a:r>
          <a:r>
            <a:rPr lang="en-GB" sz="1700" kern="1200" dirty="0" smtClean="0"/>
            <a:t> </a:t>
          </a:r>
          <a:r>
            <a:rPr lang="en-GB" sz="1700" kern="1200" dirty="0" err="1" smtClean="0"/>
            <a:t>Expertengruppe</a:t>
          </a:r>
          <a:r>
            <a:rPr lang="en-GB" sz="1700" kern="1200" dirty="0" smtClean="0"/>
            <a:t>, </a:t>
          </a:r>
          <a:r>
            <a:rPr lang="en-GB" sz="1700" kern="1200" dirty="0" err="1" smtClean="0"/>
            <a:t>ggf</a:t>
          </a:r>
          <a:r>
            <a:rPr lang="en-GB" sz="1700" kern="1200" dirty="0" smtClean="0"/>
            <a:t>. </a:t>
          </a:r>
          <a:r>
            <a:rPr lang="en-GB" sz="1700" kern="1200" dirty="0" err="1" smtClean="0"/>
            <a:t>Abstimmung</a:t>
          </a:r>
          <a:r>
            <a:rPr lang="en-GB" sz="1700" kern="1200" dirty="0" smtClean="0"/>
            <a:t> </a:t>
          </a:r>
          <a:r>
            <a:rPr lang="en-GB" sz="1700" kern="1200" dirty="0" err="1" smtClean="0"/>
            <a:t>mit</a:t>
          </a:r>
          <a:r>
            <a:rPr lang="en-GB" sz="1700" kern="1200" dirty="0" smtClean="0"/>
            <a:t> </a:t>
          </a:r>
          <a:r>
            <a:rPr lang="en-GB" sz="1700" kern="1200" dirty="0" err="1" smtClean="0"/>
            <a:t>Antragsteller</a:t>
          </a:r>
          <a:r>
            <a:rPr lang="en-GB" sz="1700" kern="1200" dirty="0" smtClean="0"/>
            <a:t> und </a:t>
          </a:r>
          <a:r>
            <a:rPr lang="en-GB" sz="1700" kern="1200" dirty="0" err="1" smtClean="0"/>
            <a:t>Überarbeitung</a:t>
          </a:r>
          <a:r>
            <a:rPr lang="en-GB" sz="1700" kern="1200" dirty="0" smtClean="0"/>
            <a:t> des </a:t>
          </a:r>
          <a:r>
            <a:rPr lang="en-GB" sz="1700" kern="1200" dirty="0" err="1" smtClean="0"/>
            <a:t>Vorschlags</a:t>
          </a:r>
          <a:endParaRPr lang="en-GB" sz="1700" kern="1200" dirty="0"/>
        </a:p>
      </dsp:txBody>
      <dsp:txXfrm rot="-5400000">
        <a:off x="788988" y="1993480"/>
        <a:ext cx="5271248" cy="661103"/>
      </dsp:txXfrm>
    </dsp:sp>
    <dsp:sp modelId="{1BF5F6AA-9BFC-4E11-9018-C5EA57741BE3}">
      <dsp:nvSpPr>
        <dsp:cNvPr id="0" name=""/>
        <dsp:cNvSpPr/>
      </dsp:nvSpPr>
      <dsp:spPr>
        <a:xfrm rot="5400000">
          <a:off x="-169068" y="3105342"/>
          <a:ext cx="1127124" cy="78898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2300" kern="1200" dirty="0"/>
        </a:p>
      </dsp:txBody>
      <dsp:txXfrm rot="-5400000">
        <a:off x="1" y="3330768"/>
        <a:ext cx="788987" cy="338137"/>
      </dsp:txXfrm>
    </dsp:sp>
    <dsp:sp modelId="{F7B43609-D49C-4B59-88B3-549D3237A26B}">
      <dsp:nvSpPr>
        <dsp:cNvPr id="0" name=""/>
        <dsp:cNvSpPr/>
      </dsp:nvSpPr>
      <dsp:spPr>
        <a:xfrm rot="5400000">
          <a:off x="3076178" y="649083"/>
          <a:ext cx="732631" cy="530701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10795" rIns="10795" bIns="10795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dirty="0" err="1" smtClean="0"/>
            <a:t>Rückmeldung</a:t>
          </a:r>
          <a:r>
            <a:rPr lang="en-GB" sz="1700" kern="1200" dirty="0" smtClean="0"/>
            <a:t> der </a:t>
          </a:r>
          <a:r>
            <a:rPr lang="en-GB" sz="1700" kern="1200" dirty="0" err="1" smtClean="0"/>
            <a:t>Expertengruppe</a:t>
          </a:r>
          <a:r>
            <a:rPr lang="en-GB" sz="1700" kern="1200" dirty="0" smtClean="0"/>
            <a:t> an RVK-</a:t>
          </a:r>
          <a:r>
            <a:rPr lang="en-GB" sz="1700" kern="1200" dirty="0" err="1" smtClean="0"/>
            <a:t>Fachkoordination</a:t>
          </a:r>
          <a:endParaRPr lang="en-GB" sz="1700" kern="1200" dirty="0"/>
        </a:p>
      </dsp:txBody>
      <dsp:txXfrm rot="-5400000">
        <a:off x="788988" y="2972037"/>
        <a:ext cx="5271248" cy="66110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2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C755E3-130F-42E9-AC9D-3E99D97B579C}" type="datetimeFigureOut">
              <a:rPr lang="de-DE" smtClean="0"/>
              <a:pPr/>
              <a:t>24.10.201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8826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378826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36429E-BAED-4733-81F9-C3811F8EB72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71819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36429E-BAED-4733-81F9-C3811F8EB720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2469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\\FS\Öffentlichkeitsarbeit$\LMU_CD-Vorlagen + Richtlinien\LMU Logos\Siegel_25s [Konvertiert]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1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3573" b="7268"/>
          <a:stretch/>
        </p:blipFill>
        <p:spPr bwMode="auto">
          <a:xfrm>
            <a:off x="5010248" y="996007"/>
            <a:ext cx="4133752" cy="5861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564B44-54AB-4C19-8AF9-9F992DC0472F}" type="datetime1">
              <a:rPr lang="de-DE" smtClean="0"/>
              <a:pPr/>
              <a:t>24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779912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FA120D-483F-4DE5-98B8-B3BD5CA79DED}" type="datetime1">
              <a:rPr lang="de-DE" smtClean="0"/>
              <a:pPr/>
              <a:t>24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779912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 durch Klicken hinzufüg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655EC-5213-4011-8E67-00CE6C180288}" type="datetime1">
              <a:rPr lang="de-DE" smtClean="0"/>
              <a:pPr/>
              <a:t>24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83664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>
          <a:xfrm>
            <a:off x="6948264" y="6356350"/>
            <a:ext cx="981472" cy="365125"/>
          </a:xfrm>
        </p:spPr>
        <p:txBody>
          <a:bodyPr/>
          <a:lstStyle/>
          <a:p>
            <a:fld id="{40660175-4903-4926-8E41-0653D8AF8DAF}" type="datetime1">
              <a:rPr lang="de-DE" smtClean="0"/>
              <a:pPr/>
              <a:t>24.10.2016</a:t>
            </a:fld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779912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100392" y="6356350"/>
            <a:ext cx="586408" cy="365125"/>
          </a:xfrm>
        </p:spPr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>
          <a:xfrm>
            <a:off x="6948264" y="6356350"/>
            <a:ext cx="981472" cy="365125"/>
          </a:xfrm>
        </p:spPr>
        <p:txBody>
          <a:bodyPr/>
          <a:lstStyle/>
          <a:p>
            <a:fld id="{8772A49A-484C-4F39-9BC6-3D25414171DA}" type="datetime1">
              <a:rPr lang="de-DE" smtClean="0"/>
              <a:pPr/>
              <a:t>24.10.2016</a:t>
            </a:fld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779912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100392" y="6356350"/>
            <a:ext cx="586408" cy="365125"/>
          </a:xfrm>
        </p:spPr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10"/>
          </p:nvPr>
        </p:nvSpPr>
        <p:spPr>
          <a:xfrm>
            <a:off x="6948264" y="6356350"/>
            <a:ext cx="981472" cy="365125"/>
          </a:xfrm>
        </p:spPr>
        <p:txBody>
          <a:bodyPr/>
          <a:lstStyle/>
          <a:p>
            <a:fld id="{C5F230D6-86B8-4B43-A0A0-E4E61718EA73}" type="datetime1">
              <a:rPr lang="de-DE" smtClean="0"/>
              <a:pPr/>
              <a:t>24.10.2016</a:t>
            </a:fld>
            <a:endParaRPr lang="de-DE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779912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100392" y="6356350"/>
            <a:ext cx="586408" cy="365125"/>
          </a:xfrm>
        </p:spPr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EFD07-76A4-43DD-848B-EC2930CC4D54}" type="datetime1">
              <a:rPr lang="de-DE" smtClean="0"/>
              <a:pPr/>
              <a:t>24.10.2016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383664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D279D5-CC9C-457F-82F9-74C9398D9CAF}" type="datetime1">
              <a:rPr lang="de-DE" smtClean="0"/>
              <a:pPr/>
              <a:t>24.10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779912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FA05B0-2832-4294-B646-274FEE521AA4}" type="datetime1">
              <a:rPr lang="de-DE" smtClean="0"/>
              <a:pPr/>
              <a:t>24.10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779912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10"/>
          </p:nvPr>
        </p:nvSpPr>
        <p:spPr>
          <a:xfrm>
            <a:off x="6948264" y="6356350"/>
            <a:ext cx="981472" cy="365125"/>
          </a:xfrm>
        </p:spPr>
        <p:txBody>
          <a:bodyPr/>
          <a:lstStyle/>
          <a:p>
            <a:fld id="{6DB27B8A-36E1-49EB-A90F-1D353A625C21}" type="datetime1">
              <a:rPr lang="de-DE" smtClean="0"/>
              <a:pPr/>
              <a:t>24.10.2016</a:t>
            </a:fld>
            <a:endParaRPr lang="de-DE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779912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100392" y="6356350"/>
            <a:ext cx="586408" cy="365125"/>
          </a:xfrm>
        </p:spPr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8AF949-3345-4E08-B6A2-4482632A980C}" type="datetime1">
              <a:rPr lang="de-DE" smtClean="0"/>
              <a:pPr/>
              <a:t>24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779912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948264" y="6356350"/>
            <a:ext cx="9814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6F5C4D-5649-4BB1-8040-3BA11DCE04A9}" type="datetime1">
              <a:rPr lang="de-DE" smtClean="0"/>
              <a:pPr/>
              <a:t>24.10.2016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100392" y="6356350"/>
            <a:ext cx="5864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5" name="Picture 2" descr="\\ub.uni-muenchen.de\Daten\Öffentlichkeitsarbeit\UB_Logo\UB-Logo-Sammlung + Manual_FINAL\Logo UB 2-Zeiler\2Z_RGB\UB-2Zeiler_RGB_blau_grau_blau.png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5" y="6309320"/>
            <a:ext cx="2952327" cy="384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image" Target="../media/image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A730D-BCA8-4107-B136-AC3EED05B9A8}" type="datetime1">
              <a:rPr lang="de-DE" smtClean="0"/>
              <a:pPr/>
              <a:t>24.10.2016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23071B-A748-4936-B017-DB26F584AD59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Bericht Expertengruppe Geschichte</a:t>
            </a:r>
            <a:endParaRPr lang="de-DE" dirty="0"/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endParaRPr lang="de-DE" sz="2000" dirty="0" smtClean="0"/>
          </a:p>
          <a:p>
            <a:endParaRPr lang="de-DE" sz="2000" dirty="0"/>
          </a:p>
          <a:p>
            <a:endParaRPr lang="de-DE" sz="2000" dirty="0" smtClean="0"/>
          </a:p>
          <a:p>
            <a:r>
              <a:rPr lang="de-DE" sz="2000" smtClean="0"/>
              <a:t>Anwendertreffen 25</a:t>
            </a:r>
            <a:r>
              <a:rPr lang="de-DE" sz="2000" dirty="0" smtClean="0"/>
              <a:t>. Oktober 2016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3020392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itglieder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1BF4B-B5A4-45DA-8385-7389FD665A84}" type="datetime1">
              <a:rPr lang="de-DE" smtClean="0"/>
              <a:pPr/>
              <a:t>24.10.2016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19" name="Freeform 26"/>
          <p:cNvSpPr>
            <a:spLocks noEditPoints="1"/>
          </p:cNvSpPr>
          <p:nvPr/>
        </p:nvSpPr>
        <p:spPr bwMode="auto">
          <a:xfrm>
            <a:off x="2627784" y="2060848"/>
            <a:ext cx="3672408" cy="2592288"/>
          </a:xfrm>
          <a:custGeom>
            <a:avLst/>
            <a:gdLst>
              <a:gd name="T0" fmla="*/ 90 w 766"/>
              <a:gd name="T1" fmla="*/ 484 h 533"/>
              <a:gd name="T2" fmla="*/ 137 w 766"/>
              <a:gd name="T3" fmla="*/ 485 h 533"/>
              <a:gd name="T4" fmla="*/ 140 w 766"/>
              <a:gd name="T5" fmla="*/ 339 h 533"/>
              <a:gd name="T6" fmla="*/ 131 w 766"/>
              <a:gd name="T7" fmla="*/ 159 h 533"/>
              <a:gd name="T8" fmla="*/ 24 w 766"/>
              <a:gd name="T9" fmla="*/ 109 h 533"/>
              <a:gd name="T10" fmla="*/ 22 w 766"/>
              <a:gd name="T11" fmla="*/ 264 h 533"/>
              <a:gd name="T12" fmla="*/ 577 w 766"/>
              <a:gd name="T13" fmla="*/ 259 h 533"/>
              <a:gd name="T14" fmla="*/ 606 w 766"/>
              <a:gd name="T15" fmla="*/ 492 h 533"/>
              <a:gd name="T16" fmla="*/ 607 w 766"/>
              <a:gd name="T17" fmla="*/ 180 h 533"/>
              <a:gd name="T18" fmla="*/ 645 w 766"/>
              <a:gd name="T19" fmla="*/ 35 h 533"/>
              <a:gd name="T20" fmla="*/ 696 w 766"/>
              <a:gd name="T21" fmla="*/ 90 h 533"/>
              <a:gd name="T22" fmla="*/ 742 w 766"/>
              <a:gd name="T23" fmla="*/ 273 h 533"/>
              <a:gd name="T24" fmla="*/ 706 w 766"/>
              <a:gd name="T25" fmla="*/ 401 h 533"/>
              <a:gd name="T26" fmla="*/ 672 w 766"/>
              <a:gd name="T27" fmla="*/ 479 h 533"/>
              <a:gd name="T28" fmla="*/ 657 w 766"/>
              <a:gd name="T29" fmla="*/ 485 h 533"/>
              <a:gd name="T30" fmla="*/ 536 w 766"/>
              <a:gd name="T31" fmla="*/ 385 h 533"/>
              <a:gd name="T32" fmla="*/ 536 w 766"/>
              <a:gd name="T33" fmla="*/ 482 h 533"/>
              <a:gd name="T34" fmla="*/ 474 w 766"/>
              <a:gd name="T35" fmla="*/ 359 h 533"/>
              <a:gd name="T36" fmla="*/ 429 w 766"/>
              <a:gd name="T37" fmla="*/ 445 h 533"/>
              <a:gd name="T38" fmla="*/ 413 w 766"/>
              <a:gd name="T39" fmla="*/ 472 h 533"/>
              <a:gd name="T40" fmla="*/ 364 w 766"/>
              <a:gd name="T41" fmla="*/ 352 h 533"/>
              <a:gd name="T42" fmla="*/ 273 w 766"/>
              <a:gd name="T43" fmla="*/ 484 h 533"/>
              <a:gd name="T44" fmla="*/ 252 w 766"/>
              <a:gd name="T45" fmla="*/ 474 h 533"/>
              <a:gd name="T46" fmla="*/ 196 w 766"/>
              <a:gd name="T47" fmla="*/ 272 h 533"/>
              <a:gd name="T48" fmla="*/ 255 w 766"/>
              <a:gd name="T49" fmla="*/ 152 h 533"/>
              <a:gd name="T50" fmla="*/ 266 w 766"/>
              <a:gd name="T51" fmla="*/ 98 h 533"/>
              <a:gd name="T52" fmla="*/ 341 w 766"/>
              <a:gd name="T53" fmla="*/ 252 h 533"/>
              <a:gd name="T54" fmla="*/ 336 w 766"/>
              <a:gd name="T55" fmla="*/ 260 h 533"/>
              <a:gd name="T56" fmla="*/ 363 w 766"/>
              <a:gd name="T57" fmla="*/ 178 h 533"/>
              <a:gd name="T58" fmla="*/ 333 w 766"/>
              <a:gd name="T59" fmla="*/ 149 h 533"/>
              <a:gd name="T60" fmla="*/ 381 w 766"/>
              <a:gd name="T61" fmla="*/ 97 h 533"/>
              <a:gd name="T62" fmla="*/ 456 w 766"/>
              <a:gd name="T63" fmla="*/ 142 h 533"/>
              <a:gd name="T64" fmla="*/ 551 w 766"/>
              <a:gd name="T65" fmla="*/ 66 h 533"/>
              <a:gd name="T66" fmla="*/ 607 w 766"/>
              <a:gd name="T67" fmla="*/ 180 h 533"/>
              <a:gd name="T68" fmla="*/ 663 w 766"/>
              <a:gd name="T69" fmla="*/ 109 h 533"/>
              <a:gd name="T70" fmla="*/ 723 w 766"/>
              <a:gd name="T71" fmla="*/ 297 h 533"/>
              <a:gd name="T72" fmla="*/ 477 w 766"/>
              <a:gd name="T73" fmla="*/ 238 h 533"/>
              <a:gd name="T74" fmla="*/ 574 w 766"/>
              <a:gd name="T75" fmla="*/ 257 h 533"/>
              <a:gd name="T76" fmla="*/ 511 w 766"/>
              <a:gd name="T77" fmla="*/ 231 h 533"/>
              <a:gd name="T78" fmla="*/ 527 w 766"/>
              <a:gd name="T79" fmla="*/ 118 h 533"/>
              <a:gd name="T80" fmla="*/ 376 w 766"/>
              <a:gd name="T81" fmla="*/ 77 h 533"/>
              <a:gd name="T82" fmla="*/ 370 w 766"/>
              <a:gd name="T83" fmla="*/ 58 h 533"/>
              <a:gd name="T84" fmla="*/ 394 w 766"/>
              <a:gd name="T85" fmla="*/ 128 h 533"/>
              <a:gd name="T86" fmla="*/ 402 w 766"/>
              <a:gd name="T87" fmla="*/ 173 h 533"/>
              <a:gd name="T88" fmla="*/ 427 w 766"/>
              <a:gd name="T89" fmla="*/ 140 h 533"/>
              <a:gd name="T90" fmla="*/ 287 w 766"/>
              <a:gd name="T91" fmla="*/ 53 h 533"/>
              <a:gd name="T92" fmla="*/ 201 w 766"/>
              <a:gd name="T93" fmla="*/ 189 h 533"/>
              <a:gd name="T94" fmla="*/ 305 w 766"/>
              <a:gd name="T95" fmla="*/ 142 h 533"/>
              <a:gd name="T96" fmla="*/ 84 w 766"/>
              <a:gd name="T97" fmla="*/ 240 h 533"/>
              <a:gd name="T98" fmla="*/ 117 w 766"/>
              <a:gd name="T99" fmla="*/ 238 h 533"/>
              <a:gd name="T100" fmla="*/ 80 w 766"/>
              <a:gd name="T101" fmla="*/ 191 h 5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66" h="533">
                <a:moveTo>
                  <a:pt x="22" y="264"/>
                </a:moveTo>
                <a:cubicBezTo>
                  <a:pt x="20" y="289"/>
                  <a:pt x="20" y="313"/>
                  <a:pt x="18" y="337"/>
                </a:cubicBezTo>
                <a:cubicBezTo>
                  <a:pt x="41" y="345"/>
                  <a:pt x="41" y="345"/>
                  <a:pt x="41" y="345"/>
                </a:cubicBezTo>
                <a:cubicBezTo>
                  <a:pt x="32" y="426"/>
                  <a:pt x="43" y="398"/>
                  <a:pt x="44" y="465"/>
                </a:cubicBezTo>
                <a:cubicBezTo>
                  <a:pt x="44" y="499"/>
                  <a:pt x="103" y="502"/>
                  <a:pt x="90" y="484"/>
                </a:cubicBezTo>
                <a:cubicBezTo>
                  <a:pt x="49" y="427"/>
                  <a:pt x="72" y="438"/>
                  <a:pt x="66" y="380"/>
                </a:cubicBezTo>
                <a:cubicBezTo>
                  <a:pt x="65" y="369"/>
                  <a:pt x="70" y="359"/>
                  <a:pt x="71" y="348"/>
                </a:cubicBezTo>
                <a:cubicBezTo>
                  <a:pt x="82" y="348"/>
                  <a:pt x="93" y="347"/>
                  <a:pt x="105" y="346"/>
                </a:cubicBezTo>
                <a:cubicBezTo>
                  <a:pt x="115" y="384"/>
                  <a:pt x="108" y="386"/>
                  <a:pt x="127" y="426"/>
                </a:cubicBezTo>
                <a:cubicBezTo>
                  <a:pt x="136" y="447"/>
                  <a:pt x="136" y="463"/>
                  <a:pt x="137" y="485"/>
                </a:cubicBezTo>
                <a:cubicBezTo>
                  <a:pt x="149" y="487"/>
                  <a:pt x="195" y="492"/>
                  <a:pt x="200" y="479"/>
                </a:cubicBezTo>
                <a:cubicBezTo>
                  <a:pt x="190" y="463"/>
                  <a:pt x="160" y="474"/>
                  <a:pt x="152" y="433"/>
                </a:cubicBezTo>
                <a:cubicBezTo>
                  <a:pt x="148" y="411"/>
                  <a:pt x="140" y="386"/>
                  <a:pt x="140" y="364"/>
                </a:cubicBezTo>
                <a:cubicBezTo>
                  <a:pt x="140" y="356"/>
                  <a:pt x="138" y="348"/>
                  <a:pt x="136" y="341"/>
                </a:cubicBezTo>
                <a:cubicBezTo>
                  <a:pt x="137" y="340"/>
                  <a:pt x="139" y="339"/>
                  <a:pt x="140" y="339"/>
                </a:cubicBezTo>
                <a:cubicBezTo>
                  <a:pt x="135" y="318"/>
                  <a:pt x="128" y="296"/>
                  <a:pt x="126" y="274"/>
                </a:cubicBezTo>
                <a:cubicBezTo>
                  <a:pt x="127" y="274"/>
                  <a:pt x="129" y="274"/>
                  <a:pt x="130" y="273"/>
                </a:cubicBezTo>
                <a:cubicBezTo>
                  <a:pt x="131" y="279"/>
                  <a:pt x="133" y="284"/>
                  <a:pt x="134" y="289"/>
                </a:cubicBezTo>
                <a:cubicBezTo>
                  <a:pt x="216" y="291"/>
                  <a:pt x="162" y="258"/>
                  <a:pt x="159" y="223"/>
                </a:cubicBezTo>
                <a:cubicBezTo>
                  <a:pt x="157" y="190"/>
                  <a:pt x="145" y="185"/>
                  <a:pt x="131" y="159"/>
                </a:cubicBezTo>
                <a:cubicBezTo>
                  <a:pt x="112" y="123"/>
                  <a:pt x="132" y="118"/>
                  <a:pt x="91" y="103"/>
                </a:cubicBezTo>
                <a:cubicBezTo>
                  <a:pt x="100" y="58"/>
                  <a:pt x="110" y="47"/>
                  <a:pt x="62" y="35"/>
                </a:cubicBezTo>
                <a:cubicBezTo>
                  <a:pt x="39" y="30"/>
                  <a:pt x="28" y="58"/>
                  <a:pt x="20" y="73"/>
                </a:cubicBezTo>
                <a:cubicBezTo>
                  <a:pt x="16" y="81"/>
                  <a:pt x="15" y="99"/>
                  <a:pt x="18" y="105"/>
                </a:cubicBezTo>
                <a:cubicBezTo>
                  <a:pt x="21" y="106"/>
                  <a:pt x="22" y="107"/>
                  <a:pt x="24" y="109"/>
                </a:cubicBezTo>
                <a:cubicBezTo>
                  <a:pt x="22" y="112"/>
                  <a:pt x="17" y="114"/>
                  <a:pt x="13" y="115"/>
                </a:cubicBezTo>
                <a:cubicBezTo>
                  <a:pt x="8" y="129"/>
                  <a:pt x="0" y="181"/>
                  <a:pt x="6" y="193"/>
                </a:cubicBezTo>
                <a:cubicBezTo>
                  <a:pt x="9" y="198"/>
                  <a:pt x="14" y="204"/>
                  <a:pt x="18" y="208"/>
                </a:cubicBezTo>
                <a:cubicBezTo>
                  <a:pt x="12" y="254"/>
                  <a:pt x="12" y="254"/>
                  <a:pt x="12" y="254"/>
                </a:cubicBezTo>
                <a:cubicBezTo>
                  <a:pt x="15" y="258"/>
                  <a:pt x="18" y="261"/>
                  <a:pt x="22" y="264"/>
                </a:cubicBezTo>
                <a:close/>
                <a:moveTo>
                  <a:pt x="621" y="248"/>
                </a:moveTo>
                <a:cubicBezTo>
                  <a:pt x="617" y="252"/>
                  <a:pt x="613" y="254"/>
                  <a:pt x="610" y="259"/>
                </a:cubicBezTo>
                <a:cubicBezTo>
                  <a:pt x="608" y="245"/>
                  <a:pt x="606" y="232"/>
                  <a:pt x="605" y="218"/>
                </a:cubicBezTo>
                <a:cubicBezTo>
                  <a:pt x="581" y="259"/>
                  <a:pt x="581" y="259"/>
                  <a:pt x="581" y="259"/>
                </a:cubicBezTo>
                <a:cubicBezTo>
                  <a:pt x="580" y="259"/>
                  <a:pt x="578" y="259"/>
                  <a:pt x="577" y="259"/>
                </a:cubicBezTo>
                <a:cubicBezTo>
                  <a:pt x="575" y="273"/>
                  <a:pt x="576" y="287"/>
                  <a:pt x="572" y="300"/>
                </a:cubicBezTo>
                <a:cubicBezTo>
                  <a:pt x="573" y="301"/>
                  <a:pt x="591" y="419"/>
                  <a:pt x="594" y="439"/>
                </a:cubicBezTo>
                <a:cubicBezTo>
                  <a:pt x="602" y="477"/>
                  <a:pt x="602" y="477"/>
                  <a:pt x="602" y="477"/>
                </a:cubicBezTo>
                <a:cubicBezTo>
                  <a:pt x="601" y="477"/>
                  <a:pt x="599" y="478"/>
                  <a:pt x="598" y="478"/>
                </a:cubicBezTo>
                <a:cubicBezTo>
                  <a:pt x="600" y="483"/>
                  <a:pt x="603" y="487"/>
                  <a:pt x="606" y="492"/>
                </a:cubicBezTo>
                <a:cubicBezTo>
                  <a:pt x="611" y="487"/>
                  <a:pt x="615" y="482"/>
                  <a:pt x="619" y="477"/>
                </a:cubicBezTo>
                <a:cubicBezTo>
                  <a:pt x="618" y="477"/>
                  <a:pt x="618" y="477"/>
                  <a:pt x="617" y="477"/>
                </a:cubicBezTo>
                <a:cubicBezTo>
                  <a:pt x="622" y="411"/>
                  <a:pt x="624" y="341"/>
                  <a:pt x="617" y="277"/>
                </a:cubicBezTo>
                <a:cubicBezTo>
                  <a:pt x="615" y="261"/>
                  <a:pt x="620" y="261"/>
                  <a:pt x="621" y="248"/>
                </a:cubicBezTo>
                <a:close/>
                <a:moveTo>
                  <a:pt x="607" y="180"/>
                </a:moveTo>
                <a:cubicBezTo>
                  <a:pt x="630" y="73"/>
                  <a:pt x="610" y="127"/>
                  <a:pt x="651" y="98"/>
                </a:cubicBezTo>
                <a:cubicBezTo>
                  <a:pt x="645" y="83"/>
                  <a:pt x="643" y="66"/>
                  <a:pt x="645" y="51"/>
                </a:cubicBezTo>
                <a:cubicBezTo>
                  <a:pt x="643" y="48"/>
                  <a:pt x="642" y="46"/>
                  <a:pt x="642" y="42"/>
                </a:cubicBezTo>
                <a:cubicBezTo>
                  <a:pt x="643" y="40"/>
                  <a:pt x="645" y="38"/>
                  <a:pt x="647" y="36"/>
                </a:cubicBezTo>
                <a:cubicBezTo>
                  <a:pt x="646" y="36"/>
                  <a:pt x="646" y="36"/>
                  <a:pt x="645" y="35"/>
                </a:cubicBezTo>
                <a:cubicBezTo>
                  <a:pt x="712" y="3"/>
                  <a:pt x="713" y="92"/>
                  <a:pt x="672" y="108"/>
                </a:cubicBezTo>
                <a:cubicBezTo>
                  <a:pt x="673" y="110"/>
                  <a:pt x="673" y="111"/>
                  <a:pt x="674" y="112"/>
                </a:cubicBezTo>
                <a:cubicBezTo>
                  <a:pt x="672" y="115"/>
                  <a:pt x="670" y="117"/>
                  <a:pt x="669" y="120"/>
                </a:cubicBezTo>
                <a:cubicBezTo>
                  <a:pt x="673" y="139"/>
                  <a:pt x="667" y="160"/>
                  <a:pt x="667" y="180"/>
                </a:cubicBezTo>
                <a:cubicBezTo>
                  <a:pt x="676" y="150"/>
                  <a:pt x="690" y="121"/>
                  <a:pt x="696" y="90"/>
                </a:cubicBezTo>
                <a:cubicBezTo>
                  <a:pt x="733" y="127"/>
                  <a:pt x="733" y="86"/>
                  <a:pt x="741" y="147"/>
                </a:cubicBezTo>
                <a:cubicBezTo>
                  <a:pt x="749" y="208"/>
                  <a:pt x="749" y="164"/>
                  <a:pt x="755" y="253"/>
                </a:cubicBezTo>
                <a:cubicBezTo>
                  <a:pt x="755" y="259"/>
                  <a:pt x="756" y="265"/>
                  <a:pt x="756" y="270"/>
                </a:cubicBezTo>
                <a:cubicBezTo>
                  <a:pt x="743" y="270"/>
                  <a:pt x="743" y="270"/>
                  <a:pt x="743" y="270"/>
                </a:cubicBezTo>
                <a:cubicBezTo>
                  <a:pt x="742" y="273"/>
                  <a:pt x="742" y="273"/>
                  <a:pt x="742" y="273"/>
                </a:cubicBezTo>
                <a:cubicBezTo>
                  <a:pt x="745" y="274"/>
                  <a:pt x="747" y="275"/>
                  <a:pt x="750" y="277"/>
                </a:cubicBezTo>
                <a:cubicBezTo>
                  <a:pt x="750" y="284"/>
                  <a:pt x="747" y="290"/>
                  <a:pt x="751" y="296"/>
                </a:cubicBezTo>
                <a:cubicBezTo>
                  <a:pt x="754" y="296"/>
                  <a:pt x="757" y="296"/>
                  <a:pt x="759" y="296"/>
                </a:cubicBezTo>
                <a:cubicBezTo>
                  <a:pt x="764" y="300"/>
                  <a:pt x="766" y="372"/>
                  <a:pt x="764" y="381"/>
                </a:cubicBezTo>
                <a:cubicBezTo>
                  <a:pt x="744" y="392"/>
                  <a:pt x="729" y="408"/>
                  <a:pt x="706" y="401"/>
                </a:cubicBezTo>
                <a:cubicBezTo>
                  <a:pt x="707" y="427"/>
                  <a:pt x="709" y="452"/>
                  <a:pt x="711" y="477"/>
                </a:cubicBezTo>
                <a:cubicBezTo>
                  <a:pt x="710" y="478"/>
                  <a:pt x="708" y="479"/>
                  <a:pt x="707" y="480"/>
                </a:cubicBezTo>
                <a:cubicBezTo>
                  <a:pt x="706" y="492"/>
                  <a:pt x="706" y="492"/>
                  <a:pt x="706" y="492"/>
                </a:cubicBezTo>
                <a:cubicBezTo>
                  <a:pt x="693" y="504"/>
                  <a:pt x="676" y="533"/>
                  <a:pt x="655" y="516"/>
                </a:cubicBezTo>
                <a:cubicBezTo>
                  <a:pt x="656" y="504"/>
                  <a:pt x="667" y="491"/>
                  <a:pt x="672" y="479"/>
                </a:cubicBezTo>
                <a:cubicBezTo>
                  <a:pt x="671" y="478"/>
                  <a:pt x="670" y="478"/>
                  <a:pt x="669" y="477"/>
                </a:cubicBezTo>
                <a:cubicBezTo>
                  <a:pt x="667" y="454"/>
                  <a:pt x="667" y="431"/>
                  <a:pt x="665" y="408"/>
                </a:cubicBezTo>
                <a:cubicBezTo>
                  <a:pt x="660" y="476"/>
                  <a:pt x="660" y="476"/>
                  <a:pt x="660" y="476"/>
                </a:cubicBezTo>
                <a:cubicBezTo>
                  <a:pt x="659" y="476"/>
                  <a:pt x="658" y="476"/>
                  <a:pt x="657" y="476"/>
                </a:cubicBezTo>
                <a:cubicBezTo>
                  <a:pt x="657" y="479"/>
                  <a:pt x="657" y="482"/>
                  <a:pt x="657" y="485"/>
                </a:cubicBezTo>
                <a:cubicBezTo>
                  <a:pt x="650" y="492"/>
                  <a:pt x="626" y="507"/>
                  <a:pt x="616" y="507"/>
                </a:cubicBezTo>
                <a:cubicBezTo>
                  <a:pt x="622" y="526"/>
                  <a:pt x="601" y="527"/>
                  <a:pt x="582" y="504"/>
                </a:cubicBezTo>
                <a:cubicBezTo>
                  <a:pt x="571" y="490"/>
                  <a:pt x="567" y="497"/>
                  <a:pt x="567" y="478"/>
                </a:cubicBezTo>
                <a:cubicBezTo>
                  <a:pt x="565" y="477"/>
                  <a:pt x="563" y="476"/>
                  <a:pt x="560" y="475"/>
                </a:cubicBezTo>
                <a:cubicBezTo>
                  <a:pt x="551" y="445"/>
                  <a:pt x="548" y="414"/>
                  <a:pt x="536" y="385"/>
                </a:cubicBezTo>
                <a:cubicBezTo>
                  <a:pt x="534" y="372"/>
                  <a:pt x="532" y="359"/>
                  <a:pt x="530" y="345"/>
                </a:cubicBezTo>
                <a:cubicBezTo>
                  <a:pt x="527" y="333"/>
                  <a:pt x="523" y="321"/>
                  <a:pt x="520" y="309"/>
                </a:cubicBezTo>
                <a:cubicBezTo>
                  <a:pt x="521" y="405"/>
                  <a:pt x="515" y="349"/>
                  <a:pt x="535" y="448"/>
                </a:cubicBezTo>
                <a:cubicBezTo>
                  <a:pt x="537" y="459"/>
                  <a:pt x="538" y="470"/>
                  <a:pt x="541" y="481"/>
                </a:cubicBezTo>
                <a:cubicBezTo>
                  <a:pt x="540" y="481"/>
                  <a:pt x="538" y="482"/>
                  <a:pt x="536" y="482"/>
                </a:cubicBezTo>
                <a:cubicBezTo>
                  <a:pt x="536" y="486"/>
                  <a:pt x="537" y="490"/>
                  <a:pt x="536" y="494"/>
                </a:cubicBezTo>
                <a:cubicBezTo>
                  <a:pt x="534" y="495"/>
                  <a:pt x="481" y="530"/>
                  <a:pt x="478" y="511"/>
                </a:cubicBezTo>
                <a:cubicBezTo>
                  <a:pt x="478" y="507"/>
                  <a:pt x="496" y="485"/>
                  <a:pt x="500" y="481"/>
                </a:cubicBezTo>
                <a:cubicBezTo>
                  <a:pt x="499" y="480"/>
                  <a:pt x="498" y="480"/>
                  <a:pt x="497" y="480"/>
                </a:cubicBezTo>
                <a:cubicBezTo>
                  <a:pt x="497" y="439"/>
                  <a:pt x="478" y="399"/>
                  <a:pt x="474" y="359"/>
                </a:cubicBezTo>
                <a:cubicBezTo>
                  <a:pt x="472" y="340"/>
                  <a:pt x="469" y="321"/>
                  <a:pt x="468" y="302"/>
                </a:cubicBezTo>
                <a:cubicBezTo>
                  <a:pt x="459" y="300"/>
                  <a:pt x="450" y="297"/>
                  <a:pt x="444" y="289"/>
                </a:cubicBezTo>
                <a:cubicBezTo>
                  <a:pt x="445" y="307"/>
                  <a:pt x="446" y="326"/>
                  <a:pt x="446" y="344"/>
                </a:cubicBezTo>
                <a:cubicBezTo>
                  <a:pt x="434" y="346"/>
                  <a:pt x="434" y="346"/>
                  <a:pt x="434" y="346"/>
                </a:cubicBezTo>
                <a:cubicBezTo>
                  <a:pt x="429" y="376"/>
                  <a:pt x="408" y="417"/>
                  <a:pt x="429" y="445"/>
                </a:cubicBezTo>
                <a:cubicBezTo>
                  <a:pt x="432" y="448"/>
                  <a:pt x="434" y="453"/>
                  <a:pt x="436" y="457"/>
                </a:cubicBezTo>
                <a:cubicBezTo>
                  <a:pt x="437" y="457"/>
                  <a:pt x="437" y="457"/>
                  <a:pt x="437" y="457"/>
                </a:cubicBezTo>
                <a:cubicBezTo>
                  <a:pt x="453" y="469"/>
                  <a:pt x="468" y="480"/>
                  <a:pt x="431" y="473"/>
                </a:cubicBezTo>
                <a:cubicBezTo>
                  <a:pt x="424" y="472"/>
                  <a:pt x="418" y="454"/>
                  <a:pt x="411" y="457"/>
                </a:cubicBezTo>
                <a:cubicBezTo>
                  <a:pt x="409" y="461"/>
                  <a:pt x="412" y="468"/>
                  <a:pt x="413" y="472"/>
                </a:cubicBezTo>
                <a:cubicBezTo>
                  <a:pt x="409" y="472"/>
                  <a:pt x="409" y="472"/>
                  <a:pt x="409" y="472"/>
                </a:cubicBezTo>
                <a:cubicBezTo>
                  <a:pt x="403" y="463"/>
                  <a:pt x="394" y="446"/>
                  <a:pt x="400" y="435"/>
                </a:cubicBezTo>
                <a:cubicBezTo>
                  <a:pt x="400" y="436"/>
                  <a:pt x="400" y="436"/>
                  <a:pt x="401" y="436"/>
                </a:cubicBezTo>
                <a:cubicBezTo>
                  <a:pt x="408" y="407"/>
                  <a:pt x="392" y="387"/>
                  <a:pt x="404" y="350"/>
                </a:cubicBezTo>
                <a:cubicBezTo>
                  <a:pt x="364" y="352"/>
                  <a:pt x="364" y="352"/>
                  <a:pt x="364" y="352"/>
                </a:cubicBezTo>
                <a:cubicBezTo>
                  <a:pt x="348" y="396"/>
                  <a:pt x="352" y="380"/>
                  <a:pt x="335" y="415"/>
                </a:cubicBezTo>
                <a:cubicBezTo>
                  <a:pt x="331" y="423"/>
                  <a:pt x="329" y="493"/>
                  <a:pt x="309" y="476"/>
                </a:cubicBezTo>
                <a:cubicBezTo>
                  <a:pt x="308" y="477"/>
                  <a:pt x="308" y="477"/>
                  <a:pt x="307" y="477"/>
                </a:cubicBezTo>
                <a:cubicBezTo>
                  <a:pt x="313" y="488"/>
                  <a:pt x="336" y="529"/>
                  <a:pt x="300" y="513"/>
                </a:cubicBezTo>
                <a:cubicBezTo>
                  <a:pt x="298" y="512"/>
                  <a:pt x="273" y="485"/>
                  <a:pt x="273" y="484"/>
                </a:cubicBezTo>
                <a:cubicBezTo>
                  <a:pt x="273" y="480"/>
                  <a:pt x="273" y="476"/>
                  <a:pt x="273" y="472"/>
                </a:cubicBezTo>
                <a:cubicBezTo>
                  <a:pt x="272" y="471"/>
                  <a:pt x="271" y="470"/>
                  <a:pt x="270" y="469"/>
                </a:cubicBezTo>
                <a:cubicBezTo>
                  <a:pt x="270" y="416"/>
                  <a:pt x="266" y="359"/>
                  <a:pt x="255" y="307"/>
                </a:cubicBezTo>
                <a:cubicBezTo>
                  <a:pt x="252" y="362"/>
                  <a:pt x="254" y="417"/>
                  <a:pt x="256" y="472"/>
                </a:cubicBezTo>
                <a:cubicBezTo>
                  <a:pt x="254" y="472"/>
                  <a:pt x="253" y="473"/>
                  <a:pt x="252" y="474"/>
                </a:cubicBezTo>
                <a:cubicBezTo>
                  <a:pt x="252" y="483"/>
                  <a:pt x="238" y="493"/>
                  <a:pt x="231" y="501"/>
                </a:cubicBezTo>
                <a:cubicBezTo>
                  <a:pt x="223" y="510"/>
                  <a:pt x="211" y="510"/>
                  <a:pt x="201" y="506"/>
                </a:cubicBezTo>
                <a:cubicBezTo>
                  <a:pt x="197" y="494"/>
                  <a:pt x="214" y="477"/>
                  <a:pt x="219" y="467"/>
                </a:cubicBezTo>
                <a:cubicBezTo>
                  <a:pt x="218" y="467"/>
                  <a:pt x="217" y="467"/>
                  <a:pt x="216" y="466"/>
                </a:cubicBezTo>
                <a:cubicBezTo>
                  <a:pt x="219" y="417"/>
                  <a:pt x="217" y="316"/>
                  <a:pt x="196" y="272"/>
                </a:cubicBezTo>
                <a:cubicBezTo>
                  <a:pt x="193" y="266"/>
                  <a:pt x="198" y="257"/>
                  <a:pt x="201" y="251"/>
                </a:cubicBezTo>
                <a:cubicBezTo>
                  <a:pt x="195" y="254"/>
                  <a:pt x="193" y="258"/>
                  <a:pt x="190" y="264"/>
                </a:cubicBezTo>
                <a:cubicBezTo>
                  <a:pt x="172" y="200"/>
                  <a:pt x="167" y="172"/>
                  <a:pt x="188" y="105"/>
                </a:cubicBezTo>
                <a:cubicBezTo>
                  <a:pt x="194" y="86"/>
                  <a:pt x="222" y="87"/>
                  <a:pt x="239" y="77"/>
                </a:cubicBezTo>
                <a:cubicBezTo>
                  <a:pt x="242" y="103"/>
                  <a:pt x="248" y="127"/>
                  <a:pt x="255" y="152"/>
                </a:cubicBezTo>
                <a:cubicBezTo>
                  <a:pt x="255" y="138"/>
                  <a:pt x="249" y="115"/>
                  <a:pt x="255" y="102"/>
                </a:cubicBezTo>
                <a:cubicBezTo>
                  <a:pt x="254" y="101"/>
                  <a:pt x="253" y="99"/>
                  <a:pt x="252" y="97"/>
                </a:cubicBezTo>
                <a:cubicBezTo>
                  <a:pt x="253" y="95"/>
                  <a:pt x="255" y="94"/>
                  <a:pt x="257" y="92"/>
                </a:cubicBezTo>
                <a:cubicBezTo>
                  <a:pt x="262" y="92"/>
                  <a:pt x="262" y="92"/>
                  <a:pt x="262" y="92"/>
                </a:cubicBezTo>
                <a:cubicBezTo>
                  <a:pt x="263" y="94"/>
                  <a:pt x="265" y="96"/>
                  <a:pt x="266" y="98"/>
                </a:cubicBezTo>
                <a:cubicBezTo>
                  <a:pt x="265" y="100"/>
                  <a:pt x="264" y="101"/>
                  <a:pt x="263" y="102"/>
                </a:cubicBezTo>
                <a:cubicBezTo>
                  <a:pt x="269" y="120"/>
                  <a:pt x="269" y="140"/>
                  <a:pt x="272" y="158"/>
                </a:cubicBezTo>
                <a:cubicBezTo>
                  <a:pt x="274" y="132"/>
                  <a:pt x="276" y="107"/>
                  <a:pt x="277" y="81"/>
                </a:cubicBezTo>
                <a:cubicBezTo>
                  <a:pt x="346" y="115"/>
                  <a:pt x="301" y="69"/>
                  <a:pt x="336" y="173"/>
                </a:cubicBezTo>
                <a:cubicBezTo>
                  <a:pt x="343" y="194"/>
                  <a:pt x="340" y="231"/>
                  <a:pt x="341" y="252"/>
                </a:cubicBezTo>
                <a:cubicBezTo>
                  <a:pt x="332" y="247"/>
                  <a:pt x="322" y="244"/>
                  <a:pt x="311" y="244"/>
                </a:cubicBezTo>
                <a:cubicBezTo>
                  <a:pt x="312" y="226"/>
                  <a:pt x="311" y="202"/>
                  <a:pt x="305" y="185"/>
                </a:cubicBezTo>
                <a:cubicBezTo>
                  <a:pt x="305" y="209"/>
                  <a:pt x="310" y="232"/>
                  <a:pt x="310" y="256"/>
                </a:cubicBezTo>
                <a:cubicBezTo>
                  <a:pt x="311" y="254"/>
                  <a:pt x="313" y="253"/>
                  <a:pt x="315" y="251"/>
                </a:cubicBezTo>
                <a:cubicBezTo>
                  <a:pt x="323" y="251"/>
                  <a:pt x="333" y="251"/>
                  <a:pt x="336" y="260"/>
                </a:cubicBezTo>
                <a:cubicBezTo>
                  <a:pt x="327" y="275"/>
                  <a:pt x="326" y="286"/>
                  <a:pt x="308" y="289"/>
                </a:cubicBezTo>
                <a:cubicBezTo>
                  <a:pt x="306" y="324"/>
                  <a:pt x="301" y="413"/>
                  <a:pt x="307" y="447"/>
                </a:cubicBezTo>
                <a:cubicBezTo>
                  <a:pt x="317" y="413"/>
                  <a:pt x="321" y="374"/>
                  <a:pt x="338" y="342"/>
                </a:cubicBezTo>
                <a:cubicBezTo>
                  <a:pt x="328" y="335"/>
                  <a:pt x="338" y="319"/>
                  <a:pt x="340" y="309"/>
                </a:cubicBezTo>
                <a:cubicBezTo>
                  <a:pt x="347" y="267"/>
                  <a:pt x="344" y="217"/>
                  <a:pt x="363" y="178"/>
                </a:cubicBezTo>
                <a:cubicBezTo>
                  <a:pt x="383" y="171"/>
                  <a:pt x="405" y="188"/>
                  <a:pt x="425" y="175"/>
                </a:cubicBezTo>
                <a:cubicBezTo>
                  <a:pt x="429" y="181"/>
                  <a:pt x="432" y="186"/>
                  <a:pt x="434" y="192"/>
                </a:cubicBezTo>
                <a:cubicBezTo>
                  <a:pt x="437" y="184"/>
                  <a:pt x="440" y="176"/>
                  <a:pt x="444" y="169"/>
                </a:cubicBezTo>
                <a:cubicBezTo>
                  <a:pt x="440" y="170"/>
                  <a:pt x="408" y="166"/>
                  <a:pt x="379" y="172"/>
                </a:cubicBezTo>
                <a:cubicBezTo>
                  <a:pt x="350" y="177"/>
                  <a:pt x="343" y="176"/>
                  <a:pt x="333" y="149"/>
                </a:cubicBezTo>
                <a:cubicBezTo>
                  <a:pt x="330" y="142"/>
                  <a:pt x="334" y="139"/>
                  <a:pt x="330" y="131"/>
                </a:cubicBezTo>
                <a:cubicBezTo>
                  <a:pt x="323" y="119"/>
                  <a:pt x="334" y="96"/>
                  <a:pt x="340" y="84"/>
                </a:cubicBezTo>
                <a:cubicBezTo>
                  <a:pt x="349" y="81"/>
                  <a:pt x="361" y="79"/>
                  <a:pt x="371" y="77"/>
                </a:cubicBezTo>
                <a:cubicBezTo>
                  <a:pt x="368" y="87"/>
                  <a:pt x="365" y="96"/>
                  <a:pt x="363" y="105"/>
                </a:cubicBezTo>
                <a:cubicBezTo>
                  <a:pt x="368" y="102"/>
                  <a:pt x="374" y="97"/>
                  <a:pt x="381" y="97"/>
                </a:cubicBezTo>
                <a:cubicBezTo>
                  <a:pt x="385" y="102"/>
                  <a:pt x="390" y="106"/>
                  <a:pt x="394" y="111"/>
                </a:cubicBezTo>
                <a:cubicBezTo>
                  <a:pt x="407" y="97"/>
                  <a:pt x="408" y="95"/>
                  <a:pt x="425" y="105"/>
                </a:cubicBezTo>
                <a:cubicBezTo>
                  <a:pt x="421" y="97"/>
                  <a:pt x="417" y="89"/>
                  <a:pt x="414" y="81"/>
                </a:cubicBezTo>
                <a:cubicBezTo>
                  <a:pt x="446" y="97"/>
                  <a:pt x="435" y="84"/>
                  <a:pt x="450" y="118"/>
                </a:cubicBezTo>
                <a:cubicBezTo>
                  <a:pt x="455" y="127"/>
                  <a:pt x="453" y="133"/>
                  <a:pt x="456" y="142"/>
                </a:cubicBezTo>
                <a:cubicBezTo>
                  <a:pt x="458" y="130"/>
                  <a:pt x="466" y="114"/>
                  <a:pt x="475" y="105"/>
                </a:cubicBezTo>
                <a:cubicBezTo>
                  <a:pt x="488" y="105"/>
                  <a:pt x="499" y="109"/>
                  <a:pt x="509" y="99"/>
                </a:cubicBezTo>
                <a:cubicBezTo>
                  <a:pt x="508" y="97"/>
                  <a:pt x="507" y="95"/>
                  <a:pt x="506" y="92"/>
                </a:cubicBezTo>
                <a:cubicBezTo>
                  <a:pt x="501" y="90"/>
                  <a:pt x="495" y="83"/>
                  <a:pt x="500" y="78"/>
                </a:cubicBezTo>
                <a:cubicBezTo>
                  <a:pt x="479" y="35"/>
                  <a:pt x="560" y="29"/>
                  <a:pt x="551" y="66"/>
                </a:cubicBezTo>
                <a:cubicBezTo>
                  <a:pt x="549" y="73"/>
                  <a:pt x="550" y="84"/>
                  <a:pt x="544" y="89"/>
                </a:cubicBezTo>
                <a:cubicBezTo>
                  <a:pt x="544" y="98"/>
                  <a:pt x="549" y="98"/>
                  <a:pt x="553" y="105"/>
                </a:cubicBezTo>
                <a:cubicBezTo>
                  <a:pt x="589" y="114"/>
                  <a:pt x="589" y="114"/>
                  <a:pt x="589" y="114"/>
                </a:cubicBezTo>
                <a:cubicBezTo>
                  <a:pt x="595" y="125"/>
                  <a:pt x="592" y="139"/>
                  <a:pt x="597" y="152"/>
                </a:cubicBezTo>
                <a:cubicBezTo>
                  <a:pt x="601" y="161"/>
                  <a:pt x="604" y="171"/>
                  <a:pt x="607" y="180"/>
                </a:cubicBezTo>
                <a:close/>
                <a:moveTo>
                  <a:pt x="654" y="105"/>
                </a:moveTo>
                <a:cubicBezTo>
                  <a:pt x="656" y="124"/>
                  <a:pt x="656" y="143"/>
                  <a:pt x="655" y="161"/>
                </a:cubicBezTo>
                <a:cubicBezTo>
                  <a:pt x="657" y="148"/>
                  <a:pt x="656" y="131"/>
                  <a:pt x="663" y="119"/>
                </a:cubicBezTo>
                <a:cubicBezTo>
                  <a:pt x="662" y="117"/>
                  <a:pt x="661" y="115"/>
                  <a:pt x="660" y="113"/>
                </a:cubicBezTo>
                <a:cubicBezTo>
                  <a:pt x="661" y="112"/>
                  <a:pt x="662" y="110"/>
                  <a:pt x="663" y="109"/>
                </a:cubicBezTo>
                <a:cubicBezTo>
                  <a:pt x="659" y="109"/>
                  <a:pt x="657" y="107"/>
                  <a:pt x="654" y="105"/>
                </a:cubicBezTo>
                <a:close/>
                <a:moveTo>
                  <a:pt x="723" y="297"/>
                </a:moveTo>
                <a:cubicBezTo>
                  <a:pt x="721" y="298"/>
                  <a:pt x="718" y="298"/>
                  <a:pt x="716" y="298"/>
                </a:cubicBezTo>
                <a:cubicBezTo>
                  <a:pt x="716" y="301"/>
                  <a:pt x="716" y="304"/>
                  <a:pt x="716" y="308"/>
                </a:cubicBezTo>
                <a:cubicBezTo>
                  <a:pt x="722" y="305"/>
                  <a:pt x="723" y="304"/>
                  <a:pt x="723" y="297"/>
                </a:cubicBezTo>
                <a:close/>
                <a:moveTo>
                  <a:pt x="443" y="273"/>
                </a:moveTo>
                <a:cubicBezTo>
                  <a:pt x="446" y="259"/>
                  <a:pt x="446" y="253"/>
                  <a:pt x="442" y="240"/>
                </a:cubicBezTo>
                <a:cubicBezTo>
                  <a:pt x="443" y="273"/>
                  <a:pt x="443" y="273"/>
                  <a:pt x="443" y="273"/>
                </a:cubicBezTo>
                <a:close/>
                <a:moveTo>
                  <a:pt x="457" y="254"/>
                </a:moveTo>
                <a:cubicBezTo>
                  <a:pt x="460" y="244"/>
                  <a:pt x="466" y="241"/>
                  <a:pt x="477" y="238"/>
                </a:cubicBezTo>
                <a:cubicBezTo>
                  <a:pt x="476" y="237"/>
                  <a:pt x="475" y="235"/>
                  <a:pt x="475" y="234"/>
                </a:cubicBezTo>
                <a:cubicBezTo>
                  <a:pt x="464" y="233"/>
                  <a:pt x="452" y="244"/>
                  <a:pt x="457" y="254"/>
                </a:cubicBezTo>
                <a:close/>
                <a:moveTo>
                  <a:pt x="560" y="239"/>
                </a:moveTo>
                <a:cubicBezTo>
                  <a:pt x="567" y="244"/>
                  <a:pt x="567" y="255"/>
                  <a:pt x="567" y="262"/>
                </a:cubicBezTo>
                <a:cubicBezTo>
                  <a:pt x="569" y="261"/>
                  <a:pt x="572" y="259"/>
                  <a:pt x="574" y="257"/>
                </a:cubicBezTo>
                <a:cubicBezTo>
                  <a:pt x="574" y="250"/>
                  <a:pt x="574" y="236"/>
                  <a:pt x="566" y="234"/>
                </a:cubicBezTo>
                <a:cubicBezTo>
                  <a:pt x="564" y="236"/>
                  <a:pt x="562" y="238"/>
                  <a:pt x="560" y="239"/>
                </a:cubicBezTo>
                <a:close/>
                <a:moveTo>
                  <a:pt x="511" y="109"/>
                </a:moveTo>
                <a:cubicBezTo>
                  <a:pt x="507" y="190"/>
                  <a:pt x="498" y="165"/>
                  <a:pt x="480" y="218"/>
                </a:cubicBezTo>
                <a:cubicBezTo>
                  <a:pt x="488" y="229"/>
                  <a:pt x="498" y="231"/>
                  <a:pt x="511" y="231"/>
                </a:cubicBezTo>
                <a:cubicBezTo>
                  <a:pt x="508" y="181"/>
                  <a:pt x="521" y="130"/>
                  <a:pt x="521" y="128"/>
                </a:cubicBezTo>
                <a:cubicBezTo>
                  <a:pt x="521" y="123"/>
                  <a:pt x="518" y="122"/>
                  <a:pt x="520" y="117"/>
                </a:cubicBezTo>
                <a:cubicBezTo>
                  <a:pt x="516" y="115"/>
                  <a:pt x="514" y="112"/>
                  <a:pt x="511" y="109"/>
                </a:cubicBezTo>
                <a:close/>
                <a:moveTo>
                  <a:pt x="544" y="102"/>
                </a:moveTo>
                <a:cubicBezTo>
                  <a:pt x="540" y="110"/>
                  <a:pt x="536" y="115"/>
                  <a:pt x="527" y="118"/>
                </a:cubicBezTo>
                <a:cubicBezTo>
                  <a:pt x="528" y="120"/>
                  <a:pt x="529" y="121"/>
                  <a:pt x="531" y="123"/>
                </a:cubicBezTo>
                <a:cubicBezTo>
                  <a:pt x="522" y="136"/>
                  <a:pt x="524" y="211"/>
                  <a:pt x="526" y="231"/>
                </a:cubicBezTo>
                <a:cubicBezTo>
                  <a:pt x="535" y="230"/>
                  <a:pt x="544" y="229"/>
                  <a:pt x="553" y="226"/>
                </a:cubicBezTo>
                <a:cubicBezTo>
                  <a:pt x="540" y="184"/>
                  <a:pt x="530" y="145"/>
                  <a:pt x="544" y="102"/>
                </a:cubicBezTo>
                <a:close/>
                <a:moveTo>
                  <a:pt x="376" y="77"/>
                </a:moveTo>
                <a:cubicBezTo>
                  <a:pt x="378" y="87"/>
                  <a:pt x="384" y="99"/>
                  <a:pt x="394" y="104"/>
                </a:cubicBezTo>
                <a:cubicBezTo>
                  <a:pt x="406" y="91"/>
                  <a:pt x="405" y="83"/>
                  <a:pt x="407" y="67"/>
                </a:cubicBezTo>
                <a:cubicBezTo>
                  <a:pt x="416" y="65"/>
                  <a:pt x="426" y="31"/>
                  <a:pt x="418" y="24"/>
                </a:cubicBezTo>
                <a:cubicBezTo>
                  <a:pt x="423" y="6"/>
                  <a:pt x="378" y="0"/>
                  <a:pt x="370" y="17"/>
                </a:cubicBezTo>
                <a:cubicBezTo>
                  <a:pt x="355" y="22"/>
                  <a:pt x="361" y="50"/>
                  <a:pt x="370" y="58"/>
                </a:cubicBezTo>
                <a:cubicBezTo>
                  <a:pt x="370" y="61"/>
                  <a:pt x="371" y="63"/>
                  <a:pt x="370" y="67"/>
                </a:cubicBezTo>
                <a:cubicBezTo>
                  <a:pt x="372" y="68"/>
                  <a:pt x="373" y="69"/>
                  <a:pt x="375" y="69"/>
                </a:cubicBezTo>
                <a:cubicBezTo>
                  <a:pt x="377" y="72"/>
                  <a:pt x="376" y="74"/>
                  <a:pt x="376" y="77"/>
                </a:cubicBezTo>
                <a:close/>
                <a:moveTo>
                  <a:pt x="397" y="131"/>
                </a:moveTo>
                <a:cubicBezTo>
                  <a:pt x="397" y="139"/>
                  <a:pt x="386" y="128"/>
                  <a:pt x="394" y="128"/>
                </a:cubicBezTo>
                <a:cubicBezTo>
                  <a:pt x="396" y="128"/>
                  <a:pt x="397" y="129"/>
                  <a:pt x="397" y="131"/>
                </a:cubicBezTo>
                <a:close/>
                <a:moveTo>
                  <a:pt x="398" y="144"/>
                </a:moveTo>
                <a:cubicBezTo>
                  <a:pt x="398" y="152"/>
                  <a:pt x="387" y="141"/>
                  <a:pt x="395" y="141"/>
                </a:cubicBezTo>
                <a:cubicBezTo>
                  <a:pt x="397" y="141"/>
                  <a:pt x="398" y="143"/>
                  <a:pt x="398" y="144"/>
                </a:cubicBezTo>
                <a:close/>
                <a:moveTo>
                  <a:pt x="402" y="173"/>
                </a:moveTo>
                <a:cubicBezTo>
                  <a:pt x="402" y="182"/>
                  <a:pt x="391" y="170"/>
                  <a:pt x="399" y="170"/>
                </a:cubicBezTo>
                <a:cubicBezTo>
                  <a:pt x="401" y="170"/>
                  <a:pt x="402" y="172"/>
                  <a:pt x="402" y="173"/>
                </a:cubicBezTo>
                <a:close/>
                <a:moveTo>
                  <a:pt x="356" y="120"/>
                </a:moveTo>
                <a:cubicBezTo>
                  <a:pt x="380" y="123"/>
                  <a:pt x="403" y="122"/>
                  <a:pt x="427" y="120"/>
                </a:cubicBezTo>
                <a:cubicBezTo>
                  <a:pt x="428" y="128"/>
                  <a:pt x="427" y="133"/>
                  <a:pt x="427" y="140"/>
                </a:cubicBezTo>
                <a:cubicBezTo>
                  <a:pt x="417" y="143"/>
                  <a:pt x="395" y="165"/>
                  <a:pt x="363" y="143"/>
                </a:cubicBezTo>
                <a:cubicBezTo>
                  <a:pt x="361" y="142"/>
                  <a:pt x="360" y="141"/>
                  <a:pt x="358" y="140"/>
                </a:cubicBezTo>
                <a:cubicBezTo>
                  <a:pt x="358" y="134"/>
                  <a:pt x="357" y="127"/>
                  <a:pt x="356" y="120"/>
                </a:cubicBezTo>
                <a:close/>
                <a:moveTo>
                  <a:pt x="242" y="75"/>
                </a:moveTo>
                <a:cubicBezTo>
                  <a:pt x="255" y="117"/>
                  <a:pt x="292" y="60"/>
                  <a:pt x="287" y="53"/>
                </a:cubicBezTo>
                <a:cubicBezTo>
                  <a:pt x="306" y="28"/>
                  <a:pt x="264" y="2"/>
                  <a:pt x="243" y="23"/>
                </a:cubicBezTo>
                <a:cubicBezTo>
                  <a:pt x="239" y="27"/>
                  <a:pt x="240" y="33"/>
                  <a:pt x="237" y="38"/>
                </a:cubicBezTo>
                <a:cubicBezTo>
                  <a:pt x="240" y="45"/>
                  <a:pt x="241" y="66"/>
                  <a:pt x="242" y="75"/>
                </a:cubicBezTo>
                <a:close/>
                <a:moveTo>
                  <a:pt x="204" y="171"/>
                </a:moveTo>
                <a:cubicBezTo>
                  <a:pt x="203" y="177"/>
                  <a:pt x="203" y="183"/>
                  <a:pt x="201" y="189"/>
                </a:cubicBezTo>
                <a:cubicBezTo>
                  <a:pt x="205" y="197"/>
                  <a:pt x="204" y="212"/>
                  <a:pt x="205" y="221"/>
                </a:cubicBezTo>
                <a:cubicBezTo>
                  <a:pt x="206" y="203"/>
                  <a:pt x="207" y="189"/>
                  <a:pt x="204" y="171"/>
                </a:cubicBezTo>
                <a:close/>
                <a:moveTo>
                  <a:pt x="296" y="135"/>
                </a:moveTo>
                <a:cubicBezTo>
                  <a:pt x="294" y="137"/>
                  <a:pt x="291" y="139"/>
                  <a:pt x="288" y="142"/>
                </a:cubicBezTo>
                <a:cubicBezTo>
                  <a:pt x="305" y="142"/>
                  <a:pt x="305" y="142"/>
                  <a:pt x="305" y="142"/>
                </a:cubicBezTo>
                <a:cubicBezTo>
                  <a:pt x="302" y="138"/>
                  <a:pt x="301" y="136"/>
                  <a:pt x="296" y="135"/>
                </a:cubicBezTo>
                <a:close/>
                <a:moveTo>
                  <a:pt x="80" y="191"/>
                </a:moveTo>
                <a:cubicBezTo>
                  <a:pt x="75" y="199"/>
                  <a:pt x="71" y="207"/>
                  <a:pt x="65" y="214"/>
                </a:cubicBezTo>
                <a:cubicBezTo>
                  <a:pt x="72" y="221"/>
                  <a:pt x="78" y="228"/>
                  <a:pt x="84" y="234"/>
                </a:cubicBezTo>
                <a:cubicBezTo>
                  <a:pt x="84" y="236"/>
                  <a:pt x="84" y="238"/>
                  <a:pt x="84" y="240"/>
                </a:cubicBezTo>
                <a:cubicBezTo>
                  <a:pt x="94" y="241"/>
                  <a:pt x="97" y="245"/>
                  <a:pt x="107" y="247"/>
                </a:cubicBezTo>
                <a:cubicBezTo>
                  <a:pt x="106" y="253"/>
                  <a:pt x="101" y="251"/>
                  <a:pt x="96" y="251"/>
                </a:cubicBezTo>
                <a:cubicBezTo>
                  <a:pt x="98" y="258"/>
                  <a:pt x="101" y="261"/>
                  <a:pt x="106" y="266"/>
                </a:cubicBezTo>
                <a:cubicBezTo>
                  <a:pt x="112" y="258"/>
                  <a:pt x="117" y="249"/>
                  <a:pt x="122" y="241"/>
                </a:cubicBezTo>
                <a:cubicBezTo>
                  <a:pt x="120" y="240"/>
                  <a:pt x="119" y="240"/>
                  <a:pt x="117" y="238"/>
                </a:cubicBezTo>
                <a:cubicBezTo>
                  <a:pt x="119" y="235"/>
                  <a:pt x="119" y="235"/>
                  <a:pt x="119" y="235"/>
                </a:cubicBezTo>
                <a:cubicBezTo>
                  <a:pt x="117" y="234"/>
                  <a:pt x="115" y="234"/>
                  <a:pt x="115" y="231"/>
                </a:cubicBezTo>
                <a:cubicBezTo>
                  <a:pt x="118" y="227"/>
                  <a:pt x="127" y="229"/>
                  <a:pt x="128" y="223"/>
                </a:cubicBezTo>
                <a:cubicBezTo>
                  <a:pt x="83" y="185"/>
                  <a:pt x="83" y="185"/>
                  <a:pt x="83" y="185"/>
                </a:cubicBezTo>
                <a:cubicBezTo>
                  <a:pt x="82" y="187"/>
                  <a:pt x="81" y="189"/>
                  <a:pt x="80" y="191"/>
                </a:cubicBezTo>
                <a:close/>
                <a:moveTo>
                  <a:pt x="53" y="110"/>
                </a:moveTo>
                <a:cubicBezTo>
                  <a:pt x="65" y="121"/>
                  <a:pt x="72" y="132"/>
                  <a:pt x="80" y="147"/>
                </a:cubicBezTo>
                <a:cubicBezTo>
                  <a:pt x="79" y="135"/>
                  <a:pt x="78" y="124"/>
                  <a:pt x="75" y="112"/>
                </a:cubicBezTo>
                <a:cubicBezTo>
                  <a:pt x="67" y="115"/>
                  <a:pt x="61" y="114"/>
                  <a:pt x="53" y="11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0" name="Rechteck 19"/>
          <p:cNvSpPr/>
          <p:nvPr/>
        </p:nvSpPr>
        <p:spPr>
          <a:xfrm>
            <a:off x="251520" y="2350621"/>
            <a:ext cx="21602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dirty="0" smtClean="0"/>
              <a:t>Dr. Ines Häusler, UB Regensburg</a:t>
            </a:r>
          </a:p>
        </p:txBody>
      </p:sp>
      <p:sp>
        <p:nvSpPr>
          <p:cNvPr id="21" name="Rechteck 20"/>
          <p:cNvSpPr/>
          <p:nvPr/>
        </p:nvSpPr>
        <p:spPr>
          <a:xfrm>
            <a:off x="1115616" y="4653136"/>
            <a:ext cx="35283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dirty="0" smtClean="0"/>
              <a:t>Dr. Verena Kondziella, </a:t>
            </a:r>
            <a:br>
              <a:rPr lang="de-DE" dirty="0" smtClean="0"/>
            </a:br>
            <a:r>
              <a:rPr lang="de-DE" dirty="0" smtClean="0"/>
              <a:t>UB LMU München (Sprecherin)</a:t>
            </a:r>
          </a:p>
        </p:txBody>
      </p:sp>
      <p:sp>
        <p:nvSpPr>
          <p:cNvPr id="22" name="Rechteck 21"/>
          <p:cNvSpPr/>
          <p:nvPr/>
        </p:nvSpPr>
        <p:spPr>
          <a:xfrm>
            <a:off x="6516216" y="2422629"/>
            <a:ext cx="242308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dirty="0" smtClean="0"/>
              <a:t>Dr. Christopher Landes, FU Berlin</a:t>
            </a:r>
          </a:p>
        </p:txBody>
      </p:sp>
      <p:sp>
        <p:nvSpPr>
          <p:cNvPr id="23" name="Rechteck 22"/>
          <p:cNvSpPr/>
          <p:nvPr/>
        </p:nvSpPr>
        <p:spPr>
          <a:xfrm>
            <a:off x="6300192" y="3645024"/>
            <a:ext cx="284380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dirty="0" smtClean="0"/>
              <a:t>Silvio Reisinger, </a:t>
            </a:r>
            <a:br>
              <a:rPr lang="de-DE" dirty="0" smtClean="0"/>
            </a:br>
            <a:r>
              <a:rPr lang="de-DE" dirty="0" smtClean="0"/>
              <a:t>UB Leipzig (</a:t>
            </a:r>
            <a:r>
              <a:rPr lang="de-DE" dirty="0" err="1" smtClean="0"/>
              <a:t>stv</a:t>
            </a:r>
            <a:r>
              <a:rPr lang="de-DE" dirty="0" smtClean="0"/>
              <a:t>. Sprecher)</a:t>
            </a:r>
          </a:p>
        </p:txBody>
      </p:sp>
      <p:sp>
        <p:nvSpPr>
          <p:cNvPr id="25" name="Rechteck 24"/>
          <p:cNvSpPr/>
          <p:nvPr/>
        </p:nvSpPr>
        <p:spPr>
          <a:xfrm>
            <a:off x="251520" y="3717032"/>
            <a:ext cx="208823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dirty="0" smtClean="0"/>
              <a:t>Kai Steffen, </a:t>
            </a:r>
            <a:br>
              <a:rPr lang="de-DE" dirty="0" smtClean="0"/>
            </a:br>
            <a:r>
              <a:rPr lang="de-DE" dirty="0" smtClean="0"/>
              <a:t>UB Greifswald</a:t>
            </a:r>
          </a:p>
        </p:txBody>
      </p:sp>
      <p:sp>
        <p:nvSpPr>
          <p:cNvPr id="26" name="Rechteck 25"/>
          <p:cNvSpPr/>
          <p:nvPr/>
        </p:nvSpPr>
        <p:spPr>
          <a:xfrm>
            <a:off x="5220072" y="4797152"/>
            <a:ext cx="147989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/>
              <a:t>Antragstell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1391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Zeitschiene NML 58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B9B93B-0735-4529-B6BF-E19186BCD479}" type="datetime1">
              <a:rPr lang="de-DE" smtClean="0"/>
              <a:pPr/>
              <a:t>24.10.2016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Rechteck 6"/>
          <p:cNvSpPr/>
          <p:nvPr>
            <p:custDataLst>
              <p:tags r:id="rId1"/>
            </p:custDataLst>
          </p:nvPr>
        </p:nvSpPr>
        <p:spPr bwMode="gray">
          <a:xfrm>
            <a:off x="0" y="3464592"/>
            <a:ext cx="9144000" cy="64819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9" name="Textfeld 8"/>
          <p:cNvSpPr txBox="1"/>
          <p:nvPr>
            <p:custDataLst>
              <p:tags r:id="rId2"/>
            </p:custDataLst>
          </p:nvPr>
        </p:nvSpPr>
        <p:spPr>
          <a:xfrm>
            <a:off x="2247141" y="3537012"/>
            <a:ext cx="1080000" cy="504056"/>
          </a:xfrm>
          <a:prstGeom prst="chevron">
            <a:avLst>
              <a:gd name="adj" fmla="val 20201"/>
            </a:avLst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0000" tIns="46800" rIns="90000" bIns="46800" rtlCol="0" anchor="ctr" anchorCtr="0">
            <a:noAutofit/>
          </a:bodyPr>
          <a:lstStyle/>
          <a:p>
            <a:pPr>
              <a:spcAft>
                <a:spcPts val="300"/>
              </a:spcAft>
              <a:buSzPct val="100000"/>
            </a:pPr>
            <a:r>
              <a:rPr lang="de-DE" sz="1400" b="1" dirty="0" smtClean="0">
                <a:latin typeface="Arial"/>
              </a:rPr>
              <a:t>05.07.16</a:t>
            </a:r>
            <a:endParaRPr lang="de-DE" sz="1400" dirty="0">
              <a:latin typeface="Arial"/>
            </a:endParaRPr>
          </a:p>
        </p:txBody>
      </p:sp>
      <p:sp>
        <p:nvSpPr>
          <p:cNvPr id="10" name="Textfeld 9"/>
          <p:cNvSpPr txBox="1"/>
          <p:nvPr>
            <p:custDataLst>
              <p:tags r:id="rId3"/>
            </p:custDataLst>
          </p:nvPr>
        </p:nvSpPr>
        <p:spPr>
          <a:xfrm>
            <a:off x="3306658" y="3537012"/>
            <a:ext cx="1080000" cy="504056"/>
          </a:xfrm>
          <a:prstGeom prst="chevron">
            <a:avLst>
              <a:gd name="adj" fmla="val 20201"/>
            </a:avLst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0000" tIns="46800" rIns="90000" bIns="46800" rtlCol="0" anchor="ctr" anchorCtr="0">
            <a:noAutofit/>
          </a:bodyPr>
          <a:lstStyle/>
          <a:p>
            <a:pPr>
              <a:spcAft>
                <a:spcPts val="300"/>
              </a:spcAft>
              <a:buSzPct val="100000"/>
            </a:pPr>
            <a:r>
              <a:rPr lang="de-DE" sz="1400" b="1" dirty="0" smtClean="0">
                <a:latin typeface="Arial"/>
              </a:rPr>
              <a:t>20.07.16</a:t>
            </a:r>
            <a:endParaRPr lang="de-DE" sz="1400" dirty="0">
              <a:latin typeface="Arial"/>
            </a:endParaRPr>
          </a:p>
        </p:txBody>
      </p:sp>
      <p:sp>
        <p:nvSpPr>
          <p:cNvPr id="11" name="Textfeld 10"/>
          <p:cNvSpPr txBox="1"/>
          <p:nvPr>
            <p:custDataLst>
              <p:tags r:id="rId4"/>
            </p:custDataLst>
          </p:nvPr>
        </p:nvSpPr>
        <p:spPr>
          <a:xfrm>
            <a:off x="4366175" y="3537012"/>
            <a:ext cx="1080000" cy="504056"/>
          </a:xfrm>
          <a:prstGeom prst="chevron">
            <a:avLst>
              <a:gd name="adj" fmla="val 20201"/>
            </a:avLst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0000" tIns="46800" rIns="90000" bIns="46800" rtlCol="0" anchor="ctr" anchorCtr="0">
            <a:noAutofit/>
          </a:bodyPr>
          <a:lstStyle/>
          <a:p>
            <a:pPr>
              <a:spcAft>
                <a:spcPts val="300"/>
              </a:spcAft>
              <a:buSzPct val="100000"/>
            </a:pPr>
            <a:r>
              <a:rPr lang="de-DE" sz="1400" b="1" dirty="0" smtClean="0">
                <a:latin typeface="Arial"/>
              </a:rPr>
              <a:t>16.08.16</a:t>
            </a:r>
            <a:endParaRPr lang="de-DE" sz="1400" dirty="0">
              <a:latin typeface="Arial"/>
            </a:endParaRPr>
          </a:p>
        </p:txBody>
      </p:sp>
      <p:sp>
        <p:nvSpPr>
          <p:cNvPr id="12" name="Textfeld 11"/>
          <p:cNvSpPr txBox="1"/>
          <p:nvPr>
            <p:custDataLst>
              <p:tags r:id="rId5"/>
            </p:custDataLst>
          </p:nvPr>
        </p:nvSpPr>
        <p:spPr>
          <a:xfrm>
            <a:off x="5425692" y="3537012"/>
            <a:ext cx="1080000" cy="504056"/>
          </a:xfrm>
          <a:prstGeom prst="chevron">
            <a:avLst>
              <a:gd name="adj" fmla="val 20201"/>
            </a:avLst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0000" tIns="46800" rIns="90000" bIns="46800" rtlCol="0" anchor="ctr" anchorCtr="0">
            <a:noAutofit/>
          </a:bodyPr>
          <a:lstStyle/>
          <a:p>
            <a:pPr>
              <a:spcAft>
                <a:spcPts val="300"/>
              </a:spcAft>
              <a:buSzPct val="100000"/>
            </a:pPr>
            <a:r>
              <a:rPr lang="de-DE" sz="1400" b="1" dirty="0" smtClean="0">
                <a:latin typeface="Arial"/>
              </a:rPr>
              <a:t>16.09.16</a:t>
            </a:r>
            <a:endParaRPr lang="de-DE" sz="1400" dirty="0">
              <a:latin typeface="Arial"/>
            </a:endParaRPr>
          </a:p>
        </p:txBody>
      </p:sp>
      <p:cxnSp>
        <p:nvCxnSpPr>
          <p:cNvPr id="16" name="Gerade Verbindung 15"/>
          <p:cNvCxnSpPr/>
          <p:nvPr>
            <p:custDataLst>
              <p:tags r:id="rId6"/>
            </p:custDataLst>
          </p:nvPr>
        </p:nvCxnSpPr>
        <p:spPr bwMode="gray">
          <a:xfrm flipH="1" flipV="1">
            <a:off x="5966324" y="4040567"/>
            <a:ext cx="621900" cy="864460"/>
          </a:xfrm>
          <a:prstGeom prst="line">
            <a:avLst/>
          </a:prstGeom>
          <a:ln w="38100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>
            <p:custDataLst>
              <p:tags r:id="rId7"/>
            </p:custDataLst>
          </p:nvPr>
        </p:nvCxnSpPr>
        <p:spPr bwMode="gray">
          <a:xfrm flipH="1" flipV="1">
            <a:off x="3851876" y="4040567"/>
            <a:ext cx="621900" cy="864460"/>
          </a:xfrm>
          <a:prstGeom prst="line">
            <a:avLst/>
          </a:prstGeom>
          <a:ln w="38100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>
            <p:custDataLst>
              <p:tags r:id="rId8"/>
            </p:custDataLst>
          </p:nvPr>
        </p:nvCxnSpPr>
        <p:spPr bwMode="gray">
          <a:xfrm flipH="1" flipV="1">
            <a:off x="4238116" y="2672482"/>
            <a:ext cx="621900" cy="864460"/>
          </a:xfrm>
          <a:prstGeom prst="line">
            <a:avLst/>
          </a:prstGeom>
          <a:ln w="38100">
            <a:solidFill>
              <a:schemeClr val="bg1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>
            <p:custDataLst>
              <p:tags r:id="rId9"/>
            </p:custDataLst>
          </p:nvPr>
        </p:nvCxnSpPr>
        <p:spPr bwMode="gray">
          <a:xfrm flipH="1" flipV="1">
            <a:off x="2195736" y="2672482"/>
            <a:ext cx="621900" cy="864460"/>
          </a:xfrm>
          <a:prstGeom prst="line">
            <a:avLst/>
          </a:prstGeom>
          <a:ln w="38100">
            <a:solidFill>
              <a:schemeClr val="bg1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>
            <p:custDataLst>
              <p:tags r:id="rId10"/>
            </p:custDataLst>
          </p:nvPr>
        </p:nvCxnSpPr>
        <p:spPr bwMode="gray">
          <a:xfrm flipH="1" flipV="1">
            <a:off x="4238116" y="2672482"/>
            <a:ext cx="621900" cy="864460"/>
          </a:xfrm>
          <a:prstGeom prst="line">
            <a:avLst/>
          </a:prstGeom>
          <a:ln>
            <a:solidFill>
              <a:schemeClr val="tx2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>
            <p:custDataLst>
              <p:tags r:id="rId11"/>
            </p:custDataLst>
          </p:nvPr>
        </p:nvCxnSpPr>
        <p:spPr bwMode="gray">
          <a:xfrm flipH="1" flipV="1">
            <a:off x="2195736" y="2672482"/>
            <a:ext cx="621900" cy="864460"/>
          </a:xfrm>
          <a:prstGeom prst="line">
            <a:avLst/>
          </a:prstGeom>
          <a:ln>
            <a:solidFill>
              <a:schemeClr val="tx2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>
            <p:custDataLst>
              <p:tags r:id="rId12"/>
            </p:custDataLst>
          </p:nvPr>
        </p:nvCxnSpPr>
        <p:spPr bwMode="gray">
          <a:xfrm flipH="1" flipV="1">
            <a:off x="5966324" y="4040567"/>
            <a:ext cx="621900" cy="864460"/>
          </a:xfrm>
          <a:prstGeom prst="line">
            <a:avLst/>
          </a:prstGeom>
          <a:ln>
            <a:solidFill>
              <a:schemeClr val="tx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>
            <p:custDataLst>
              <p:tags r:id="rId13"/>
            </p:custDataLst>
          </p:nvPr>
        </p:nvCxnSpPr>
        <p:spPr bwMode="gray">
          <a:xfrm flipH="1" flipV="1">
            <a:off x="3851876" y="4040567"/>
            <a:ext cx="621900" cy="864460"/>
          </a:xfrm>
          <a:prstGeom prst="line">
            <a:avLst/>
          </a:prstGeom>
          <a:ln>
            <a:solidFill>
              <a:schemeClr val="tx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/>
          <p:cNvSpPr txBox="1"/>
          <p:nvPr>
            <p:custDataLst>
              <p:tags r:id="rId14"/>
            </p:custDataLst>
          </p:nvPr>
        </p:nvSpPr>
        <p:spPr>
          <a:xfrm>
            <a:off x="1187624" y="2060848"/>
            <a:ext cx="2016000" cy="61206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82800" rIns="90000" bIns="46800" rtlCol="0" anchor="ctr" anchorCtr="1">
            <a:noAutofit/>
          </a:bodyPr>
          <a:lstStyle/>
          <a:p>
            <a:pPr algn="ctr">
              <a:spcAft>
                <a:spcPts val="300"/>
              </a:spcAft>
              <a:buSzPct val="100000"/>
            </a:pPr>
            <a:r>
              <a:rPr lang="de-DE" sz="1600" b="1" dirty="0" smtClean="0">
                <a:latin typeface="Arial"/>
              </a:rPr>
              <a:t>Meldefrist</a:t>
            </a:r>
            <a:endParaRPr lang="de-DE" sz="1600" b="1" dirty="0">
              <a:latin typeface="Arial"/>
            </a:endParaRPr>
          </a:p>
        </p:txBody>
      </p:sp>
      <p:sp>
        <p:nvSpPr>
          <p:cNvPr id="33" name="Textfeld 32"/>
          <p:cNvSpPr txBox="1"/>
          <p:nvPr>
            <p:custDataLst>
              <p:tags r:id="rId15"/>
            </p:custDataLst>
          </p:nvPr>
        </p:nvSpPr>
        <p:spPr>
          <a:xfrm>
            <a:off x="3347939" y="2060848"/>
            <a:ext cx="2016000" cy="61206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82800" rIns="90000" bIns="46800" rtlCol="0" anchor="ctr" anchorCtr="1">
            <a:noAutofit/>
          </a:bodyPr>
          <a:lstStyle/>
          <a:p>
            <a:pPr algn="ctr">
              <a:spcAft>
                <a:spcPts val="300"/>
              </a:spcAft>
              <a:buSzPct val="100000"/>
            </a:pPr>
            <a:r>
              <a:rPr lang="de-DE" sz="1600" b="1" dirty="0" smtClean="0">
                <a:latin typeface="Arial"/>
              </a:rPr>
              <a:t>Diskussions-/</a:t>
            </a:r>
          </a:p>
          <a:p>
            <a:pPr algn="ctr">
              <a:spcAft>
                <a:spcPts val="300"/>
              </a:spcAft>
              <a:buSzPct val="100000"/>
            </a:pPr>
            <a:r>
              <a:rPr lang="de-DE" sz="1600" b="1" dirty="0" smtClean="0">
                <a:latin typeface="Arial"/>
              </a:rPr>
              <a:t>Abstimmungsfrist</a:t>
            </a:r>
            <a:endParaRPr lang="de-DE" sz="1600" dirty="0">
              <a:latin typeface="Arial"/>
            </a:endParaRPr>
          </a:p>
        </p:txBody>
      </p:sp>
      <p:sp>
        <p:nvSpPr>
          <p:cNvPr id="37" name="Textfeld 36"/>
          <p:cNvSpPr txBox="1"/>
          <p:nvPr>
            <p:custDataLst>
              <p:tags r:id="rId16"/>
            </p:custDataLst>
          </p:nvPr>
        </p:nvSpPr>
        <p:spPr>
          <a:xfrm>
            <a:off x="3347939" y="4898405"/>
            <a:ext cx="2016000" cy="69083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82800" rIns="90000" bIns="46800" rtlCol="0" anchor="ctr" anchorCtr="1">
            <a:noAutofit/>
          </a:bodyPr>
          <a:lstStyle/>
          <a:p>
            <a:pPr algn="ctr">
              <a:spcAft>
                <a:spcPts val="300"/>
              </a:spcAft>
              <a:buSzPct val="100000"/>
            </a:pPr>
            <a:r>
              <a:rPr lang="de-DE" sz="1600" b="1" dirty="0" smtClean="0">
                <a:latin typeface="Arial"/>
              </a:rPr>
              <a:t>Sichtungsfrist</a:t>
            </a:r>
          </a:p>
          <a:p>
            <a:pPr algn="ctr">
              <a:spcAft>
                <a:spcPts val="300"/>
              </a:spcAft>
              <a:buSzPct val="100000"/>
            </a:pPr>
            <a:r>
              <a:rPr lang="de-DE" sz="1600" b="1" dirty="0" smtClean="0">
                <a:latin typeface="Arial"/>
              </a:rPr>
              <a:t>Expertengruppe</a:t>
            </a:r>
            <a:endParaRPr lang="de-DE" sz="1600" dirty="0">
              <a:latin typeface="Arial"/>
            </a:endParaRPr>
          </a:p>
        </p:txBody>
      </p:sp>
      <p:sp>
        <p:nvSpPr>
          <p:cNvPr id="38" name="Textfeld 37"/>
          <p:cNvSpPr txBox="1"/>
          <p:nvPr>
            <p:custDataLst>
              <p:tags r:id="rId17"/>
            </p:custDataLst>
          </p:nvPr>
        </p:nvSpPr>
        <p:spPr>
          <a:xfrm>
            <a:off x="5508254" y="4898405"/>
            <a:ext cx="2016000" cy="69083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82800" rIns="90000" bIns="46800" rtlCol="0" anchor="ctr" anchorCtr="1">
            <a:noAutofit/>
          </a:bodyPr>
          <a:lstStyle/>
          <a:p>
            <a:pPr>
              <a:spcAft>
                <a:spcPts val="300"/>
              </a:spcAft>
              <a:buSzPct val="100000"/>
            </a:pPr>
            <a:r>
              <a:rPr lang="de-DE" sz="1600" b="1" dirty="0" smtClean="0">
                <a:latin typeface="Arial"/>
              </a:rPr>
              <a:t>Veröffentlichung</a:t>
            </a:r>
            <a:endParaRPr lang="de-DE" sz="16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063359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orgehensweis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CB4C24-7077-4F9F-B358-052B242F58F7}" type="datetime1">
              <a:rPr lang="de-DE" smtClean="0"/>
              <a:pPr/>
              <a:t>24.10.2016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</a:t>
            </a:fld>
            <a:endParaRPr lang="de-DE" dirty="0"/>
          </a:p>
        </p:txBody>
      </p:sp>
      <p:graphicFrame>
        <p:nvGraphicFramePr>
          <p:cNvPr id="11" name="Diagramm 10"/>
          <p:cNvGraphicFramePr/>
          <p:nvPr>
            <p:extLst>
              <p:ext uri="{D42A27DB-BD31-4B8C-83A1-F6EECF244321}">
                <p14:modId xmlns:p14="http://schemas.microsoft.com/office/powerpoint/2010/main" val="1439905996"/>
              </p:ext>
            </p:extLst>
          </p:nvPr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2524907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</a:t>
            </a:r>
            <a:r>
              <a:rPr lang="de-DE" dirty="0" smtClean="0"/>
              <a:t>isherige Erfahrun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B0AF97-A040-4D3D-AE5B-4425D4DEE11C}" type="datetime1">
              <a:rPr lang="de-DE" smtClean="0"/>
              <a:pPr/>
              <a:t>24.10.2016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13" name="Rectangle 1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355976" y="2492896"/>
            <a:ext cx="4104456" cy="3007806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909090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20000"/>
              </a:spcBef>
              <a:spcAft>
                <a:spcPct val="0"/>
              </a:spcAft>
              <a:defRPr sz="1600" b="1" i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eaLnBrk="1" fontAlgn="base" hangingPunct="1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92088" indent="-188913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376238" indent="-182563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571500" indent="-193675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28700" indent="-193675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485900" indent="-193675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1943100" indent="-193675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00300" indent="-193675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180975" lvl="3" indent="6350">
              <a:spcBef>
                <a:spcPts val="400"/>
              </a:spcBef>
              <a:buClr>
                <a:srgbClr val="998C85"/>
              </a:buClr>
              <a:buNone/>
            </a:pPr>
            <a:r>
              <a:rPr lang="de-DE" sz="1800" dirty="0" smtClean="0"/>
              <a:t>Bislang wurde Expertengruppe in zwei Fällen aktiv:</a:t>
            </a:r>
          </a:p>
          <a:p>
            <a:pPr marL="361950" lvl="3" indent="-174625">
              <a:spcBef>
                <a:spcPts val="400"/>
              </a:spcBef>
              <a:buClr>
                <a:srgbClr val="998C85"/>
              </a:buClr>
              <a:buFont typeface="Wingdings"/>
              <a:buChar char="§"/>
            </a:pPr>
            <a:r>
              <a:rPr lang="de-DE" sz="1800" dirty="0" smtClean="0"/>
              <a:t>Kolonialismus: Erweiterung um eine Notation und Änderung der Benennung</a:t>
            </a:r>
          </a:p>
          <a:p>
            <a:pPr marL="361950" lvl="3" indent="-174625">
              <a:spcBef>
                <a:spcPts val="400"/>
              </a:spcBef>
              <a:buClr>
                <a:srgbClr val="998C85"/>
              </a:buClr>
              <a:buFont typeface="Wingdings"/>
              <a:buChar char="§"/>
            </a:pPr>
            <a:r>
              <a:rPr lang="de-DE" sz="1800" dirty="0" smtClean="0"/>
              <a:t>Altamerikanistik: umfangreicher Vorschlag mit zahlreichen neuen Notationen, einigen Streichungen und inhaltlichen Änderungen.</a:t>
            </a:r>
          </a:p>
          <a:p>
            <a:pPr marL="177800" lvl="2" indent="3175">
              <a:spcBef>
                <a:spcPts val="400"/>
              </a:spcBef>
              <a:buClr>
                <a:srgbClr val="998C85"/>
              </a:buClr>
              <a:buNone/>
            </a:pPr>
            <a:r>
              <a:rPr lang="de-DE" sz="1800" dirty="0" smtClean="0"/>
              <a:t>In beiden Fällen schnelle Einigung auf ein einheitliches Votum.</a:t>
            </a:r>
          </a:p>
        </p:txBody>
      </p:sp>
      <p:sp>
        <p:nvSpPr>
          <p:cNvPr id="14" name="Oval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186892" y="1965920"/>
            <a:ext cx="467783" cy="431800"/>
          </a:xfrm>
          <a:prstGeom prst="ellipse">
            <a:avLst/>
          </a:prstGeom>
          <a:solidFill>
            <a:srgbClr val="0098C7"/>
          </a:solidFill>
          <a:ln w="9525">
            <a:solidFill>
              <a:srgbClr val="909090"/>
            </a:solidFill>
            <a:round/>
            <a:headEnd/>
            <a:tailEnd/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3" name="Group 6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2280443" y="1700808"/>
            <a:ext cx="2756829" cy="3672408"/>
            <a:chOff x="1565" y="1539"/>
            <a:chExt cx="1603" cy="1920"/>
          </a:xfrm>
        </p:grpSpPr>
        <p:sp>
          <p:nvSpPr>
            <p:cNvPr id="16" name="Arc 7"/>
            <p:cNvSpPr>
              <a:spLocks/>
            </p:cNvSpPr>
            <p:nvPr/>
          </p:nvSpPr>
          <p:spPr bwMode="auto">
            <a:xfrm>
              <a:off x="1565" y="2573"/>
              <a:ext cx="538" cy="886"/>
            </a:xfrm>
            <a:custGeom>
              <a:avLst/>
              <a:gdLst>
                <a:gd name="G0" fmla="+- 6734 0 0"/>
                <a:gd name="G1" fmla="+- 21600 0 0"/>
                <a:gd name="G2" fmla="+- 21600 0 0"/>
                <a:gd name="T0" fmla="*/ 0 w 28334"/>
                <a:gd name="T1" fmla="*/ 1077 h 21600"/>
                <a:gd name="T2" fmla="*/ 28334 w 28334"/>
                <a:gd name="T3" fmla="*/ 21600 h 21600"/>
                <a:gd name="T4" fmla="*/ 6734 w 28334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334" h="21600" fill="none" extrusionOk="0">
                  <a:moveTo>
                    <a:pt x="-1" y="1076"/>
                  </a:moveTo>
                  <a:cubicBezTo>
                    <a:pt x="2173" y="363"/>
                    <a:pt x="4446" y="-1"/>
                    <a:pt x="6734" y="0"/>
                  </a:cubicBezTo>
                  <a:cubicBezTo>
                    <a:pt x="18663" y="0"/>
                    <a:pt x="28334" y="9670"/>
                    <a:pt x="28334" y="21600"/>
                  </a:cubicBezTo>
                </a:path>
                <a:path w="28334" h="21600" stroke="0" extrusionOk="0">
                  <a:moveTo>
                    <a:pt x="-1" y="1076"/>
                  </a:moveTo>
                  <a:cubicBezTo>
                    <a:pt x="2173" y="363"/>
                    <a:pt x="4446" y="-1"/>
                    <a:pt x="6734" y="0"/>
                  </a:cubicBezTo>
                  <a:cubicBezTo>
                    <a:pt x="18663" y="0"/>
                    <a:pt x="28334" y="9670"/>
                    <a:pt x="28334" y="21600"/>
                  </a:cubicBezTo>
                  <a:lnTo>
                    <a:pt x="6734" y="2160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ysDot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Arc 8"/>
            <p:cNvSpPr>
              <a:spLocks/>
            </p:cNvSpPr>
            <p:nvPr/>
          </p:nvSpPr>
          <p:spPr bwMode="auto">
            <a:xfrm>
              <a:off x="2103" y="1539"/>
              <a:ext cx="1065" cy="192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0 w 28293"/>
                <a:gd name="T1" fmla="*/ 21544 h 21600"/>
                <a:gd name="T2" fmla="*/ 28293 w 28293"/>
                <a:gd name="T3" fmla="*/ 1063 h 21600"/>
                <a:gd name="T4" fmla="*/ 21600 w 28293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293" h="21600" fill="none" extrusionOk="0">
                  <a:moveTo>
                    <a:pt x="0" y="21544"/>
                  </a:moveTo>
                  <a:cubicBezTo>
                    <a:pt x="30" y="9636"/>
                    <a:pt x="9692" y="-1"/>
                    <a:pt x="21600" y="0"/>
                  </a:cubicBezTo>
                  <a:cubicBezTo>
                    <a:pt x="23873" y="0"/>
                    <a:pt x="26131" y="358"/>
                    <a:pt x="28292" y="1063"/>
                  </a:cubicBezTo>
                </a:path>
                <a:path w="28293" h="21600" stroke="0" extrusionOk="0">
                  <a:moveTo>
                    <a:pt x="0" y="21544"/>
                  </a:moveTo>
                  <a:cubicBezTo>
                    <a:pt x="30" y="9636"/>
                    <a:pt x="9692" y="-1"/>
                    <a:pt x="21600" y="0"/>
                  </a:cubicBezTo>
                  <a:cubicBezTo>
                    <a:pt x="23873" y="0"/>
                    <a:pt x="26131" y="358"/>
                    <a:pt x="28292" y="1063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ysDot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18" name="Straight Connector 13"/>
          <p:cNvCxnSpPr/>
          <p:nvPr>
            <p:custDataLst>
              <p:tags r:id="rId4"/>
            </p:custDataLst>
          </p:nvPr>
        </p:nvCxnSpPr>
        <p:spPr bwMode="auto">
          <a:xfrm rot="10800000" flipV="1">
            <a:off x="2244309" y="5643578"/>
            <a:ext cx="5417382" cy="2"/>
          </a:xfrm>
          <a:prstGeom prst="line">
            <a:avLst/>
          </a:prstGeom>
          <a:solidFill>
            <a:srgbClr val="FFFFFF"/>
          </a:solidFill>
          <a:ln w="50800" cap="flat" cmpd="sng" algn="ctr">
            <a:solidFill>
              <a:srgbClr val="909090">
                <a:lumMod val="7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2524907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</a:t>
            </a:r>
            <a:r>
              <a:rPr lang="de-DE" dirty="0" smtClean="0"/>
              <a:t>ögliche Problem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963531-0C59-4EEA-8D66-AD77C544C048}" type="datetime1">
              <a:rPr lang="de-DE" smtClean="0"/>
              <a:pPr/>
              <a:t>24.10.2016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7" name="Picture 8" descr="Capgemini Symbol Attention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3568" y="1844824"/>
            <a:ext cx="1223839" cy="1223839"/>
          </a:xfrm>
          <a:prstGeom prst="rect">
            <a:avLst/>
          </a:prstGeom>
          <a:noFill/>
        </p:spPr>
      </p:pic>
      <p:pic>
        <p:nvPicPr>
          <p:cNvPr id="8" name="Picture 8" descr="Capgemini Symbol Attention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3568" y="3861345"/>
            <a:ext cx="1223839" cy="1223839"/>
          </a:xfrm>
          <a:prstGeom prst="rect">
            <a:avLst/>
          </a:prstGeom>
          <a:noFill/>
        </p:spPr>
      </p:pic>
      <p:sp>
        <p:nvSpPr>
          <p:cNvPr id="9" name="Rechteck 8"/>
          <p:cNvSpPr/>
          <p:nvPr/>
        </p:nvSpPr>
        <p:spPr>
          <a:xfrm>
            <a:off x="2267744" y="1844824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dirty="0" smtClean="0"/>
              <a:t>Benennung von Sprecher und stell-vertretendem Sprecher, damit auch in Abwesenheitszeiten (Krankheit, Urlaub) entsprechende Fristen eingehalten werden</a:t>
            </a:r>
          </a:p>
        </p:txBody>
      </p:sp>
      <p:sp>
        <p:nvSpPr>
          <p:cNvPr id="10" name="Rechteck 9"/>
          <p:cNvSpPr/>
          <p:nvPr/>
        </p:nvSpPr>
        <p:spPr>
          <a:xfrm>
            <a:off x="2247106" y="3884855"/>
            <a:ext cx="4572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dirty="0" smtClean="0"/>
              <a:t>Entscheidungsfindung: in den beiden vorliegenden Fällen Einstimmigkeit</a:t>
            </a:r>
          </a:p>
          <a:p>
            <a:r>
              <a:rPr lang="de-DE" smtClean="0"/>
              <a:t>Vorgehensweise</a:t>
            </a:r>
            <a:r>
              <a:rPr lang="de-DE"/>
              <a:t> </a:t>
            </a:r>
            <a:r>
              <a:rPr lang="de-DE" smtClean="0"/>
              <a:t>im </a:t>
            </a:r>
            <a:r>
              <a:rPr lang="de-DE" dirty="0" smtClean="0"/>
              <a:t>Fall von Urlaubszeiten oder abweichenden Meinungen </a:t>
            </a:r>
            <a:br>
              <a:rPr lang="de-DE" dirty="0" smtClean="0"/>
            </a:br>
            <a:r>
              <a:rPr lang="de-DE" dirty="0" smtClean="0"/>
              <a:t>-&gt; Mehrheitsentscheidung?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69750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PDTextW02Yl0Pw.ySCV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gVgiQt60aPXyDTtR9N6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FlxAcHDUK9CmpUKHV3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gW0yncKU..cEMyYnZP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8AZy8kPUG.jNYZblRY1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THINKCELLSHAPEDONOTDELETE" val="ppGaixQIp.0uanGHgZOgeM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THINKCELLSHAPEDONOTDELETE" val="pbUyPWP4DQkqyGr1PlPEPB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THINKCELLSHAPEDONOTDELETE" val="psjwMzm0KZkeb_OdFWNPOk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THINKCELLSHAPEDONOTDELETE" val="p2nNsor4okU21tNa8Qx3q9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TRANSPARENCY" val="0"/>
  <p:tag name="LINETRANSPARENCY" val="0"/>
  <p:tag name="FONTCOLOR" val="0"/>
  <p:tag name="HIDDEN" val="Fals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IDDEN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-ANGLE" val="68"/>
  <p:tag name="THINKCELLSHAPEDONOTDELETE" val="phi84AIxYSEWeZlg6gRrt4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IDDEN" val="Fals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TRANSPARENCY" val="0"/>
  <p:tag name="HIDDEN" val="Fals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uQ5OWwWEKgEFIf6N7oC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uQ5OWwWEKgEFIf6N7o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-ANGLE" val="68"/>
  <p:tag name="THINKCELLSHAPEDONOTDELETE" val="p4lXw302du0OJ13zN9D6Y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-ANGLE" val="68"/>
  <p:tag name="THINKCELLSHAPEDONOTDELETE" val="pAGi06vC.OE68gZHUnQgA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-ANGLE" val="68"/>
  <p:tag name="THINKCELLSHAPEDONOTDELETE" val="pyBb0NOVE00aiU4NVYXRl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njkFmnhEGzkLHZU61Df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nb2ig1IkyRf1VNdxxZ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y4ffYamkKcqDkT3EEA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L2fyQj5EGOf6W1YJnnSg"/>
</p:tagLst>
</file>

<file path=ppt/theme/theme1.xml><?xml version="1.0" encoding="utf-8"?>
<a:theme xmlns:a="http://schemas.openxmlformats.org/drawingml/2006/main" name="Larissa-Design">
  <a:themeElements>
    <a:clrScheme name="LMU UB">
      <a:dk1>
        <a:srgbClr val="0067AC"/>
      </a:dk1>
      <a:lt1>
        <a:sysClr val="window" lastClr="FFFFFF"/>
      </a:lt1>
      <a:dk2>
        <a:srgbClr val="0067AC"/>
      </a:dk2>
      <a:lt2>
        <a:srgbClr val="FFFFFF"/>
      </a:lt2>
      <a:accent1>
        <a:srgbClr val="0067AC"/>
      </a:accent1>
      <a:accent2>
        <a:srgbClr val="0067AC"/>
      </a:accent2>
      <a:accent3>
        <a:srgbClr val="0067AC"/>
      </a:accent3>
      <a:accent4>
        <a:srgbClr val="0067AC"/>
      </a:accent4>
      <a:accent5>
        <a:srgbClr val="0067AC"/>
      </a:accent5>
      <a:accent6>
        <a:srgbClr val="E9E9EA"/>
      </a:accent6>
      <a:hlink>
        <a:srgbClr val="0067AC"/>
      </a:hlink>
      <a:folHlink>
        <a:srgbClr val="939598"/>
      </a:folHlink>
    </a:clrScheme>
    <a:fontScheme name="LMU Compatil Fact">
      <a:majorFont>
        <a:latin typeface="LMU CompatilFact"/>
        <a:ea typeface=""/>
        <a:cs typeface=""/>
      </a:majorFont>
      <a:minorFont>
        <a:latin typeface="LMU CompatilFac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öschvorschlag xmlns="ec76349c-9c06-46ab-8951-c4118e1cce02">false</Löschvorschlag>
    <PublishingExpirationDate xmlns="http://schemas.microsoft.com/sharepoint/v3" xsi:nil="true"/>
    <TaxCatchAll xmlns="ec76349c-9c06-46ab-8951-c4118e1cce02">
      <Value>49</Value>
    </TaxCatchAll>
    <ccd7e511aa444aa58afee97c4eb053de xmlns="ec76349c-9c06-46ab-8951-c4118e1cce02">
      <Terms xmlns="http://schemas.microsoft.com/office/infopath/2007/PartnerControls">
        <TermInfo xmlns="http://schemas.microsoft.com/office/infopath/2007/PartnerControls">
          <TermName xmlns="http://schemas.microsoft.com/office/infopath/2007/PartnerControls">mehr als eine Bibliothek</TermName>
          <TermId xmlns="http://schemas.microsoft.com/office/infopath/2007/PartnerControls">88960837-666e-4df8-9227-a625f3d6d2f5</TermId>
        </TermInfo>
      </Terms>
    </ccd7e511aa444aa58afee97c4eb053de>
    <PublishingStartDate xmlns="http://schemas.microsoft.com/sharepoint/v3" xsi:nil="true"/>
    <Inhalt xmlns="ec76349c-9c06-46ab-8951-c4118e1cce02">Vorlage für PowerPoint-Präsentationen im Corporate Design der UB der LMU München.</Inhalt>
    <Ersteller xmlns="ec76349c-9c06-46ab-8951-c4118e1cce02">
      <UserInfo>
        <DisplayName>Ostmann Torsten</DisplayName>
        <AccountId>59</AccountId>
        <AccountType/>
      </UserInfo>
    </Ersteller>
    <_dlc_DocId xmlns="ec76349c-9c06-46ab-8951-c4118e1cce02">KA46CK6J5RJY-230-211</_dlc_DocId>
    <_dlc_DocIdUrl xmlns="ec76349c-9c06-46ab-8951-c4118e1cce02">
      <Url>http://intranet.ub.uni-muenchen.de/ko_en/extkom/oeff/_layouts/DocIdRedir.aspx?ID=KA46CK6J5RJY-230-211</Url>
      <Description>KA46CK6J5RJY-230-211</Description>
    </_dlc_DocIdUrl>
    <Inhaltstyp xmlns="bc89ead1-cbb0-436a-8b82-eeb3c9098bf2">PowerPoint-Vorlagen</Inhaltstyp>
  </documentManagement>
</p:properti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1E7F086826BBB479414A5CC2B3939FF" ma:contentTypeVersion="14" ma:contentTypeDescription="Ein neues Dokument erstellen." ma:contentTypeScope="" ma:versionID="fcb2313c6318949ab4f8feef27d827ef">
  <xsd:schema xmlns:xsd="http://www.w3.org/2001/XMLSchema" xmlns:xs="http://www.w3.org/2001/XMLSchema" xmlns:p="http://schemas.microsoft.com/office/2006/metadata/properties" xmlns:ns1="http://schemas.microsoft.com/sharepoint/v3" xmlns:ns2="ec76349c-9c06-46ab-8951-c4118e1cce02" xmlns:ns3="bc89ead1-cbb0-436a-8b82-eeb3c9098bf2" targetNamespace="http://schemas.microsoft.com/office/2006/metadata/properties" ma:root="true" ma:fieldsID="d74f4cafbf1b8863d28b10bfaa9dacbe" ns1:_="" ns2:_="" ns3:_="">
    <xsd:import namespace="http://schemas.microsoft.com/sharepoint/v3"/>
    <xsd:import namespace="ec76349c-9c06-46ab-8951-c4118e1cce02"/>
    <xsd:import namespace="bc89ead1-cbb0-436a-8b82-eeb3c9098bf2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PublishingStartDate" minOccurs="0"/>
                <xsd:element ref="ns1:PublishingExpirationDate" minOccurs="0"/>
                <xsd:element ref="ns2:ccd7e511aa444aa58afee97c4eb053de" minOccurs="0"/>
                <xsd:element ref="ns2:TaxCatchAll" minOccurs="0"/>
                <xsd:element ref="ns2:Ersteller" minOccurs="0"/>
                <xsd:element ref="ns2:Inhalt" minOccurs="0"/>
                <xsd:element ref="ns3:Inhaltstyp" minOccurs="0"/>
                <xsd:element ref="ns2:Löschvorschlag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1" nillable="true" ma:displayName="Geplantes Startdatum" ma:description="" ma:hidden="true" ma:internalName="PublishingStartDate">
      <xsd:simpleType>
        <xsd:restriction base="dms:Unknown"/>
      </xsd:simpleType>
    </xsd:element>
    <xsd:element name="PublishingExpirationDate" ma:index="12" nillable="true" ma:displayName="Geplantes Enddatum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c76349c-9c06-46ab-8951-c4118e1cce02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9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ccd7e511aa444aa58afee97c4eb053de" ma:index="14" nillable="true" ma:taxonomy="true" ma:internalName="ccd7e511aa444aa58afee97c4eb053de" ma:taxonomyFieldName="Bibliothek" ma:displayName="Bibliothek" ma:default="" ma:fieldId="{ccd7e511-aa44-4aa5-8afe-e97c4eb053de}" ma:sspId="f0d4e212-30e6-4120-b468-4a38d66adbce" ma:termSetId="51f10e44-1f6f-458e-9a52-9c6b1bc1cb5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5" nillable="true" ma:displayName="Taxonomiespalte &quot;Alle abfangen&quot;" ma:hidden="true" ma:list="{2bb8d14a-7a36-43c0-b28d-15e712c87227}" ma:internalName="TaxCatchAll" ma:showField="CatchAllData" ma:web="ec76349c-9c06-46ab-8951-c4118e1cce0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Ersteller" ma:index="16" nillable="true" ma:displayName="Ersteller" ma:description="Das Feld Ersteller dient dazu, den ursprünglichen Ersteller und damit Ansprechpartner für ein Dokument nachzuweisen. Die Spalte kann nur einen Mitarbeiter der UB wiedergeben." ma:list="UserInfo" ma:SearchPeopleOnly="false" ma:SharePointGroup="0" ma:internalName="Ersteller" ma:showField="Titl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Inhalt" ma:index="17" nillable="true" ma:displayName="Inhalt" ma:description="Hier sollten nur zusätzliche Informationen eingetragen werden" ma:internalName="Inhalt">
      <xsd:simpleType>
        <xsd:restriction base="dms:Note">
          <xsd:maxLength value="255"/>
        </xsd:restriction>
      </xsd:simpleType>
    </xsd:element>
    <xsd:element name="Löschvorschlag" ma:index="19" nillable="true" ma:displayName="Löschvorschlag" ma:default="0" ma:description="Schlagen Sie der Seitenverantwortung das Dokument zum Löschen vor." ma:internalName="L_x00f6_schvorschlag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89ead1-cbb0-436a-8b82-eeb3c9098bf2" elementFormDefault="qualified">
    <xsd:import namespace="http://schemas.microsoft.com/office/2006/documentManagement/types"/>
    <xsd:import namespace="http://schemas.microsoft.com/office/infopath/2007/PartnerControls"/>
    <xsd:element name="Inhaltstyp" ma:index="18" nillable="true" ma:displayName="UB-Inhaltstyp" ma:default="--Bitte auswählen--" ma:format="Dropdown" ma:internalName="Inhaltstyp">
      <xsd:simpleType>
        <xsd:restriction base="dms:Choice">
          <xsd:enumeration value="--Bitte auswählen--"/>
          <xsd:enumeration value="Aushang"/>
          <xsd:enumeration value="Briefbogen"/>
          <xsd:enumeration value="Corporate Design"/>
          <xsd:enumeration value="Flyer"/>
          <xsd:enumeration value="Plakat"/>
          <xsd:enumeration value="PowerPoint-Vorlagen"/>
          <xsd:enumeration value="Visitenkarte"/>
          <xsd:enumeration value="Sonstige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421F4A2-9D31-4C2D-87DF-5B60189A8AA6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purl.org/dc/terms/"/>
    <ds:schemaRef ds:uri="http://schemas.microsoft.com/office/infopath/2007/PartnerControls"/>
    <ds:schemaRef ds:uri="http://purl.org/dc/dcmitype/"/>
    <ds:schemaRef ds:uri="bc89ead1-cbb0-436a-8b82-eeb3c9098bf2"/>
    <ds:schemaRef ds:uri="http://purl.org/dc/elements/1.1/"/>
    <ds:schemaRef ds:uri="ec76349c-9c06-46ab-8951-c4118e1cce02"/>
    <ds:schemaRef ds:uri="http://schemas.microsoft.com/sharepoint/v3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8D3702A-C771-4B5F-A1BC-3BBFF6AD543A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137E4F1F-9007-48C5-8D65-AC8E66D463BA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A20AFF08-B2AC-4B06-82D9-80AE908930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ec76349c-9c06-46ab-8951-c4118e1cce02"/>
    <ds:schemaRef ds:uri="bc89ead1-cbb0-436a-8b82-eeb3c9098bf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0</Words>
  <Application>Microsoft Office PowerPoint</Application>
  <PresentationFormat>Bildschirmpräsentation (4:3)</PresentationFormat>
  <Paragraphs>50</Paragraphs>
  <Slides>6</Slides>
  <Notes>1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7" baseType="lpstr">
      <vt:lpstr>Larissa-Design</vt:lpstr>
      <vt:lpstr>Bericht Expertengruppe Geschichte</vt:lpstr>
      <vt:lpstr>Mitglieder</vt:lpstr>
      <vt:lpstr>Zeitschiene NML 58</vt:lpstr>
      <vt:lpstr>Vorgehensweise</vt:lpstr>
      <vt:lpstr>bisherige Erfahrungen</vt:lpstr>
      <vt:lpstr>mögliche Problem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Vorlage_UB LMU</dc:title>
  <dc:creator>Rücker Benjamin</dc:creator>
  <cp:lastModifiedBy>Barbara Peisl</cp:lastModifiedBy>
  <cp:revision>443</cp:revision>
  <cp:lastPrinted>2016-10-18T11:37:51Z</cp:lastPrinted>
  <dcterms:created xsi:type="dcterms:W3CDTF">2013-08-30T09:04:00Z</dcterms:created>
  <dcterms:modified xsi:type="dcterms:W3CDTF">2016-10-24T07:59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1E7F086826BBB479414A5CC2B3939FF</vt:lpwstr>
  </property>
  <property fmtid="{D5CDD505-2E9C-101B-9397-08002B2CF9AE}" pid="3" name="_dlc_DocIdItemGuid">
    <vt:lpwstr>3d5fec76-8cec-49df-8b65-0ccf1d18190d</vt:lpwstr>
  </property>
  <property fmtid="{D5CDD505-2E9C-101B-9397-08002B2CF9AE}" pid="4" name="Bibliothek">
    <vt:lpwstr>49;#mehr als eine Bibliothek|88960837-666e-4df8-9227-a625f3d6d2f5</vt:lpwstr>
  </property>
  <property fmtid="{D5CDD505-2E9C-101B-9397-08002B2CF9AE}" pid="5" name="Institute">
    <vt:lpwstr/>
  </property>
  <property fmtid="{D5CDD505-2E9C-101B-9397-08002B2CF9AE}" pid="6" name="Inhaltstyp0">
    <vt:lpwstr>Präsentation</vt:lpwstr>
  </property>
</Properties>
</file>